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2" r:id="rId5"/>
    <p:sldMasterId id="2147483677" r:id="rId6"/>
  </p:sldMasterIdLst>
  <p:notesMasterIdLst>
    <p:notesMasterId r:id="rId20"/>
  </p:notesMasterIdLst>
  <p:handoutMasterIdLst>
    <p:handoutMasterId r:id="rId21"/>
  </p:handoutMasterIdLst>
  <p:sldIdLst>
    <p:sldId id="256" r:id="rId7"/>
    <p:sldId id="331" r:id="rId8"/>
    <p:sldId id="338" r:id="rId9"/>
    <p:sldId id="339" r:id="rId10"/>
    <p:sldId id="347" r:id="rId11"/>
    <p:sldId id="346" r:id="rId12"/>
    <p:sldId id="332" r:id="rId13"/>
    <p:sldId id="343" r:id="rId14"/>
    <p:sldId id="340" r:id="rId15"/>
    <p:sldId id="344" r:id="rId16"/>
    <p:sldId id="341" r:id="rId17"/>
    <p:sldId id="345" r:id="rId18"/>
    <p:sldId id="312" r:id="rId19"/>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guide id="3" orient="horz" pos="1622">
          <p15:clr>
            <a:srgbClr val="A4A3A4"/>
          </p15:clr>
        </p15:guide>
        <p15:guide id="4" orient="horz" pos="1976">
          <p15:clr>
            <a:srgbClr val="A4A3A4"/>
          </p15:clr>
        </p15:guide>
        <p15:guide id="5" pos="1199">
          <p15:clr>
            <a:srgbClr val="A4A3A4"/>
          </p15:clr>
        </p15:guide>
        <p15:guide id="6" pos="5306">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086"/>
    <a:srgbClr val="E31B23"/>
    <a:srgbClr val="4F799B"/>
    <a:srgbClr val="F1B830"/>
    <a:srgbClr val="B2BFD0"/>
    <a:srgbClr val="9B9E7D"/>
    <a:srgbClr val="CEC7B1"/>
    <a:srgbClr val="9D1C20"/>
    <a:srgbClr val="E1F0C2"/>
    <a:srgbClr val="EE1A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9064" autoAdjust="0"/>
  </p:normalViewPr>
  <p:slideViewPr>
    <p:cSldViewPr snapToGrid="0">
      <p:cViewPr varScale="1">
        <p:scale>
          <a:sx n="89" d="100"/>
          <a:sy n="89" d="100"/>
        </p:scale>
        <p:origin x="1092" y="78"/>
      </p:cViewPr>
      <p:guideLst>
        <p:guide orient="horz" pos="2160"/>
        <p:guide pos="3840"/>
        <p:guide orient="horz" pos="1622"/>
        <p:guide orient="horz" pos="1976"/>
        <p:guide pos="1199"/>
        <p:guide pos="5306"/>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00" d="100"/>
          <a:sy n="100" d="100"/>
        </p:scale>
        <p:origin x="2124" y="-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clustered"/>
        <c:varyColors val="0"/>
        <c:ser>
          <c:idx val="1"/>
          <c:order val="1"/>
          <c:tx>
            <c:v>Longevity liabilities for risk transfer</c:v>
          </c:tx>
          <c:spPr>
            <a:solidFill>
              <a:schemeClr val="accent1">
                <a:tint val="77000"/>
              </a:schemeClr>
            </a:solidFill>
            <a:ln>
              <a:noFill/>
            </a:ln>
            <a:effectLst/>
          </c:spPr>
          <c:invertIfNegative val="0"/>
          <c:cat>
            <c:numRef>
              <c:f>Sheet1!$B$4:$B$11</c:f>
              <c:numCache>
                <c:formatCode>General</c:formatCode>
                <c:ptCount val="8"/>
                <c:pt idx="0">
                  <c:v>2008</c:v>
                </c:pt>
                <c:pt idx="1">
                  <c:v>2009</c:v>
                </c:pt>
                <c:pt idx="2">
                  <c:v>2010</c:v>
                </c:pt>
                <c:pt idx="3">
                  <c:v>2011</c:v>
                </c:pt>
                <c:pt idx="4">
                  <c:v>2012</c:v>
                </c:pt>
                <c:pt idx="5">
                  <c:v>2013</c:v>
                </c:pt>
                <c:pt idx="6">
                  <c:v>2014</c:v>
                </c:pt>
                <c:pt idx="7">
                  <c:v>2015</c:v>
                </c:pt>
              </c:numCache>
            </c:numRef>
          </c:cat>
          <c:val>
            <c:numRef>
              <c:f>Sheet1!$Q$4:$Q$11</c:f>
              <c:numCache>
                <c:formatCode>_-* #,##0_-;\-* #,##0_-;_-* "-"??_-;_-@_-</c:formatCode>
                <c:ptCount val="8"/>
                <c:pt idx="0">
                  <c:v>8000</c:v>
                </c:pt>
                <c:pt idx="1">
                  <c:v>7800</c:v>
                </c:pt>
                <c:pt idx="2">
                  <c:v>8200</c:v>
                </c:pt>
                <c:pt idx="3">
                  <c:v>12399.999999999998</c:v>
                </c:pt>
                <c:pt idx="4">
                  <c:v>6700</c:v>
                </c:pt>
                <c:pt idx="5">
                  <c:v>16300</c:v>
                </c:pt>
                <c:pt idx="6">
                  <c:v>38599.999999999993</c:v>
                </c:pt>
                <c:pt idx="7">
                  <c:v>18300</c:v>
                </c:pt>
              </c:numCache>
            </c:numRef>
          </c:val>
        </c:ser>
        <c:dLbls>
          <c:showLegendKey val="0"/>
          <c:showVal val="0"/>
          <c:showCatName val="0"/>
          <c:showSerName val="0"/>
          <c:showPercent val="0"/>
          <c:showBubbleSize val="0"/>
        </c:dLbls>
        <c:gapWidth val="150"/>
        <c:axId val="309426784"/>
        <c:axId val="309426392"/>
      </c:barChart>
      <c:lineChart>
        <c:grouping val="standard"/>
        <c:varyColors val="0"/>
        <c:ser>
          <c:idx val="0"/>
          <c:order val="0"/>
          <c:tx>
            <c:v>Mortality annual premium volume</c:v>
          </c:tx>
          <c:spPr>
            <a:ln w="28575" cap="rnd" cmpd="sng" algn="ctr">
              <a:solidFill>
                <a:schemeClr val="accent1">
                  <a:shade val="76000"/>
                  <a:shade val="95000"/>
                  <a:satMod val="105000"/>
                </a:schemeClr>
              </a:solidFill>
              <a:prstDash val="solid"/>
              <a:round/>
            </a:ln>
            <a:effectLst/>
          </c:spPr>
          <c:marker>
            <c:spPr>
              <a:solidFill>
                <a:schemeClr val="accent1">
                  <a:shade val="76000"/>
                </a:schemeClr>
              </a:solidFill>
              <a:ln w="9525" cap="flat" cmpd="sng" algn="ctr">
                <a:solidFill>
                  <a:schemeClr val="accent1">
                    <a:shade val="76000"/>
                    <a:shade val="95000"/>
                    <a:satMod val="105000"/>
                  </a:schemeClr>
                </a:solidFill>
                <a:prstDash val="solid"/>
                <a:round/>
              </a:ln>
              <a:effectLst/>
            </c:spPr>
          </c:marker>
          <c:cat>
            <c:numRef>
              <c:f>Sheet1!$B$4:$B$11</c:f>
              <c:numCache>
                <c:formatCode>General</c:formatCode>
                <c:ptCount val="8"/>
                <c:pt idx="0">
                  <c:v>2008</c:v>
                </c:pt>
                <c:pt idx="1">
                  <c:v>2009</c:v>
                </c:pt>
                <c:pt idx="2">
                  <c:v>2010</c:v>
                </c:pt>
                <c:pt idx="3">
                  <c:v>2011</c:v>
                </c:pt>
                <c:pt idx="4">
                  <c:v>2012</c:v>
                </c:pt>
                <c:pt idx="5">
                  <c:v>2013</c:v>
                </c:pt>
                <c:pt idx="6">
                  <c:v>2014</c:v>
                </c:pt>
                <c:pt idx="7">
                  <c:v>2015</c:v>
                </c:pt>
              </c:numCache>
            </c:numRef>
          </c:cat>
          <c:val>
            <c:numRef>
              <c:f>Sheet1!$F$4:$F$11</c:f>
              <c:numCache>
                <c:formatCode>0</c:formatCode>
                <c:ptCount val="8"/>
                <c:pt idx="0">
                  <c:v>717.10519003295906</c:v>
                </c:pt>
                <c:pt idx="1">
                  <c:v>724.00636027666928</c:v>
                </c:pt>
                <c:pt idx="2">
                  <c:v>708.96652981214038</c:v>
                </c:pt>
                <c:pt idx="3">
                  <c:v>696.66514010851085</c:v>
                </c:pt>
                <c:pt idx="4">
                  <c:v>688.0765106537342</c:v>
                </c:pt>
                <c:pt idx="5">
                  <c:v>597.904</c:v>
                </c:pt>
                <c:pt idx="6">
                  <c:v>586.64200000000005</c:v>
                </c:pt>
                <c:pt idx="7">
                  <c:v>580.2786999511718</c:v>
                </c:pt>
              </c:numCache>
            </c:numRef>
          </c:val>
          <c:smooth val="0"/>
        </c:ser>
        <c:dLbls>
          <c:showLegendKey val="0"/>
          <c:showVal val="0"/>
          <c:showCatName val="0"/>
          <c:showSerName val="0"/>
          <c:showPercent val="0"/>
          <c:showBubbleSize val="0"/>
        </c:dLbls>
        <c:marker val="1"/>
        <c:smooth val="0"/>
        <c:axId val="309425608"/>
        <c:axId val="309426000"/>
      </c:lineChart>
      <c:catAx>
        <c:axId val="30942560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09426000"/>
        <c:crosses val="autoZero"/>
        <c:auto val="1"/>
        <c:lblAlgn val="ctr"/>
        <c:lblOffset val="100"/>
        <c:noMultiLvlLbl val="0"/>
      </c:catAx>
      <c:valAx>
        <c:axId val="309426000"/>
        <c:scaling>
          <c:orientation val="minMax"/>
        </c:scaling>
        <c:delete val="0"/>
        <c:axPos val="l"/>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dirty="0" smtClean="0"/>
                  <a:t>MORTALITY £m</a:t>
                </a:r>
                <a:endParaRPr lang="en-US" sz="1400" dirty="0"/>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09425608"/>
        <c:crosses val="autoZero"/>
        <c:crossBetween val="between"/>
      </c:valAx>
      <c:valAx>
        <c:axId val="309426392"/>
        <c:scaling>
          <c:orientation val="minMax"/>
        </c:scaling>
        <c:delete val="0"/>
        <c:axPos val="r"/>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dirty="0" smtClean="0"/>
                  <a:t>LONGEVITY £m</a:t>
                </a:r>
                <a:endParaRPr lang="en-US" sz="1400" dirty="0"/>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_-* #,##0_-;\-* #,##0_-;_-* &quot;-&quot;??_-;_-@_-"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09426784"/>
        <c:crosses val="max"/>
        <c:crossBetween val="between"/>
      </c:valAx>
      <c:catAx>
        <c:axId val="309426784"/>
        <c:scaling>
          <c:orientation val="minMax"/>
        </c:scaling>
        <c:delete val="1"/>
        <c:axPos val="b"/>
        <c:numFmt formatCode="General" sourceLinked="1"/>
        <c:majorTickMark val="out"/>
        <c:minorTickMark val="none"/>
        <c:tickLblPos val="nextTo"/>
        <c:crossAx val="3094263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jpg"/><Relationship Id="rId5" Type="http://schemas.openxmlformats.org/officeDocument/2006/relationships/image" Target="../media/image16.png"/><Relationship Id="rId4" Type="http://schemas.openxmlformats.org/officeDocument/2006/relationships/image" Target="../media/image1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D907A9-B082-4987-BA53-73A32FB9EA7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A53F1274-A116-4AAC-92D1-4B77B6F0DFE1}">
      <dgm:prSet phldrT="[Text]">
        <dgm:style>
          <a:lnRef idx="3">
            <a:schemeClr val="lt1"/>
          </a:lnRef>
          <a:fillRef idx="1">
            <a:schemeClr val="accent1"/>
          </a:fillRef>
          <a:effectRef idx="1">
            <a:schemeClr val="accent1"/>
          </a:effectRef>
          <a:fontRef idx="minor">
            <a:schemeClr val="lt1"/>
          </a:fontRef>
        </dgm:style>
      </dgm:prSet>
      <dgm:spPr/>
      <dgm:t>
        <a:bodyPr/>
        <a:lstStyle/>
        <a:p>
          <a:r>
            <a:rPr lang="en-GB" b="0" i="0" dirty="0" smtClean="0"/>
            <a:t>Solvency II</a:t>
          </a:r>
          <a:endParaRPr lang="en-US" b="0" i="0" dirty="0"/>
        </a:p>
      </dgm:t>
    </dgm:pt>
    <dgm:pt modelId="{6222BC82-54C4-40FF-85DA-8902832D5452}" type="parTrans" cxnId="{1600DC11-7726-4F50-A48A-02C7C930D0F4}">
      <dgm:prSet/>
      <dgm:spPr/>
      <dgm:t>
        <a:bodyPr/>
        <a:lstStyle/>
        <a:p>
          <a:endParaRPr lang="en-US"/>
        </a:p>
      </dgm:t>
    </dgm:pt>
    <dgm:pt modelId="{0B63E9B0-66C2-4AB8-8E45-93C96BB3F99A}" type="sibTrans" cxnId="{1600DC11-7726-4F50-A48A-02C7C930D0F4}">
      <dgm:prSet/>
      <dgm:spPr/>
      <dgm:t>
        <a:bodyPr/>
        <a:lstStyle/>
        <a:p>
          <a:endParaRPr lang="en-US"/>
        </a:p>
      </dgm:t>
    </dgm:pt>
    <dgm:pt modelId="{D8387A61-8FE0-4EB9-9893-BF4573E72523}">
      <dgm:prSet phldrT="[Text]">
        <dgm:style>
          <a:lnRef idx="3">
            <a:schemeClr val="lt1"/>
          </a:lnRef>
          <a:fillRef idx="1">
            <a:schemeClr val="accent1"/>
          </a:fillRef>
          <a:effectRef idx="1">
            <a:schemeClr val="accent1"/>
          </a:effectRef>
          <a:fontRef idx="minor">
            <a:schemeClr val="lt1"/>
          </a:fontRef>
        </dgm:style>
      </dgm:prSet>
      <dgm:spPr/>
      <dgm:t>
        <a:bodyPr/>
        <a:lstStyle/>
        <a:p>
          <a:r>
            <a:rPr lang="en-GB" dirty="0" smtClean="0"/>
            <a:t>Unrewarded risk</a:t>
          </a:r>
          <a:endParaRPr lang="en-US" dirty="0"/>
        </a:p>
      </dgm:t>
    </dgm:pt>
    <dgm:pt modelId="{A547F9E5-6579-45A2-9B45-CE4239E502DB}" type="parTrans" cxnId="{EE58159C-4396-4AA6-9186-96EC9D41EA15}">
      <dgm:prSet/>
      <dgm:spPr/>
      <dgm:t>
        <a:bodyPr/>
        <a:lstStyle/>
        <a:p>
          <a:endParaRPr lang="en-US"/>
        </a:p>
      </dgm:t>
    </dgm:pt>
    <dgm:pt modelId="{B124496D-F756-410A-8975-C275F6E075EB}" type="sibTrans" cxnId="{EE58159C-4396-4AA6-9186-96EC9D41EA15}">
      <dgm:prSet/>
      <dgm:spPr/>
      <dgm:t>
        <a:bodyPr/>
        <a:lstStyle/>
        <a:p>
          <a:endParaRPr lang="en-US"/>
        </a:p>
      </dgm:t>
    </dgm:pt>
    <dgm:pt modelId="{57E2AA5C-288D-4D3B-9EBE-23A5EF18FC8A}">
      <dgm:prSet phldrT="[Text]">
        <dgm:style>
          <a:lnRef idx="3">
            <a:schemeClr val="lt1"/>
          </a:lnRef>
          <a:fillRef idx="1">
            <a:schemeClr val="accent1"/>
          </a:fillRef>
          <a:effectRef idx="1">
            <a:schemeClr val="accent1"/>
          </a:effectRef>
          <a:fontRef idx="minor">
            <a:schemeClr val="lt1"/>
          </a:fontRef>
        </dgm:style>
      </dgm:prSet>
      <dgm:spPr/>
      <dgm:t>
        <a:bodyPr/>
        <a:lstStyle/>
        <a:p>
          <a:r>
            <a:rPr lang="en-GB" dirty="0" err="1" smtClean="0"/>
            <a:t>Unreplicability</a:t>
          </a:r>
          <a:endParaRPr lang="en-US" dirty="0"/>
        </a:p>
      </dgm:t>
    </dgm:pt>
    <dgm:pt modelId="{5AD370C9-2577-4706-A604-0DD405343D23}" type="parTrans" cxnId="{F51471DB-BEE6-4024-97BE-B1B94B379B0B}">
      <dgm:prSet/>
      <dgm:spPr/>
      <dgm:t>
        <a:bodyPr/>
        <a:lstStyle/>
        <a:p>
          <a:endParaRPr lang="en-US"/>
        </a:p>
      </dgm:t>
    </dgm:pt>
    <dgm:pt modelId="{46B26636-0268-4692-996F-9349A05CC617}" type="sibTrans" cxnId="{F51471DB-BEE6-4024-97BE-B1B94B379B0B}">
      <dgm:prSet/>
      <dgm:spPr/>
      <dgm:t>
        <a:bodyPr/>
        <a:lstStyle/>
        <a:p>
          <a:endParaRPr lang="en-US"/>
        </a:p>
      </dgm:t>
    </dgm:pt>
    <dgm:pt modelId="{6E3740BD-F4BF-4FAC-8251-E592463B5124}" type="pres">
      <dgm:prSet presAssocID="{1DD907A9-B082-4987-BA53-73A32FB9EA75}" presName="Name0" presStyleCnt="0">
        <dgm:presLayoutVars>
          <dgm:chMax val="7"/>
          <dgm:chPref val="7"/>
          <dgm:dir/>
        </dgm:presLayoutVars>
      </dgm:prSet>
      <dgm:spPr/>
      <dgm:t>
        <a:bodyPr/>
        <a:lstStyle/>
        <a:p>
          <a:endParaRPr lang="en-GB"/>
        </a:p>
      </dgm:t>
    </dgm:pt>
    <dgm:pt modelId="{A7D01EC7-FADF-48B0-AAAB-5FEE624F08D0}" type="pres">
      <dgm:prSet presAssocID="{1DD907A9-B082-4987-BA53-73A32FB9EA75}" presName="Name1" presStyleCnt="0"/>
      <dgm:spPr/>
    </dgm:pt>
    <dgm:pt modelId="{D497DFCE-7DFD-48ED-B74D-9A17E7FC0277}" type="pres">
      <dgm:prSet presAssocID="{1DD907A9-B082-4987-BA53-73A32FB9EA75}" presName="cycle" presStyleCnt="0"/>
      <dgm:spPr/>
    </dgm:pt>
    <dgm:pt modelId="{E410AA4F-4DE7-4EE0-A8FF-31DBE8D10BE1}" type="pres">
      <dgm:prSet presAssocID="{1DD907A9-B082-4987-BA53-73A32FB9EA75}" presName="srcNode" presStyleLbl="node1" presStyleIdx="0" presStyleCnt="3"/>
      <dgm:spPr/>
    </dgm:pt>
    <dgm:pt modelId="{DFDF1EAD-436C-4044-B1C9-0350448E3E58}" type="pres">
      <dgm:prSet presAssocID="{1DD907A9-B082-4987-BA53-73A32FB9EA75}" presName="conn" presStyleLbl="parChTrans1D2" presStyleIdx="0" presStyleCnt="1"/>
      <dgm:spPr/>
      <dgm:t>
        <a:bodyPr/>
        <a:lstStyle/>
        <a:p>
          <a:endParaRPr lang="en-GB"/>
        </a:p>
      </dgm:t>
    </dgm:pt>
    <dgm:pt modelId="{F6905110-EFE9-4353-ABBC-4145E26B420A}" type="pres">
      <dgm:prSet presAssocID="{1DD907A9-B082-4987-BA53-73A32FB9EA75}" presName="extraNode" presStyleLbl="node1" presStyleIdx="0" presStyleCnt="3"/>
      <dgm:spPr/>
    </dgm:pt>
    <dgm:pt modelId="{E2EA0273-1447-4BF9-97EF-E2DA98BCA758}" type="pres">
      <dgm:prSet presAssocID="{1DD907A9-B082-4987-BA53-73A32FB9EA75}" presName="dstNode" presStyleLbl="node1" presStyleIdx="0" presStyleCnt="3"/>
      <dgm:spPr/>
    </dgm:pt>
    <dgm:pt modelId="{51218AF5-DB4E-4C32-B903-06938896C5E5}" type="pres">
      <dgm:prSet presAssocID="{A53F1274-A116-4AAC-92D1-4B77B6F0DFE1}" presName="text_1" presStyleLbl="node1" presStyleIdx="0" presStyleCnt="3">
        <dgm:presLayoutVars>
          <dgm:bulletEnabled val="1"/>
        </dgm:presLayoutVars>
      </dgm:prSet>
      <dgm:spPr/>
      <dgm:t>
        <a:bodyPr/>
        <a:lstStyle/>
        <a:p>
          <a:endParaRPr lang="en-GB"/>
        </a:p>
      </dgm:t>
    </dgm:pt>
    <dgm:pt modelId="{7038CFBC-589E-4DB8-8CB8-E2A5074E7473}" type="pres">
      <dgm:prSet presAssocID="{A53F1274-A116-4AAC-92D1-4B77B6F0DFE1}" presName="accent_1" presStyleCnt="0"/>
      <dgm:spPr/>
    </dgm:pt>
    <dgm:pt modelId="{838BC13C-DF4B-49BD-88DD-CAF24441F200}" type="pres">
      <dgm:prSet presAssocID="{A53F1274-A116-4AAC-92D1-4B77B6F0DFE1}" presName="accentRepeatNode" presStyleLbl="solidFgAcc1" presStyleIdx="0" presStyleCnt="3"/>
      <dgm:spPr/>
    </dgm:pt>
    <dgm:pt modelId="{ABFD3530-B97A-47BF-8457-A7661A3DD75E}" type="pres">
      <dgm:prSet presAssocID="{D8387A61-8FE0-4EB9-9893-BF4573E72523}" presName="text_2" presStyleLbl="node1" presStyleIdx="1" presStyleCnt="3">
        <dgm:presLayoutVars>
          <dgm:bulletEnabled val="1"/>
        </dgm:presLayoutVars>
      </dgm:prSet>
      <dgm:spPr/>
      <dgm:t>
        <a:bodyPr/>
        <a:lstStyle/>
        <a:p>
          <a:endParaRPr lang="en-GB"/>
        </a:p>
      </dgm:t>
    </dgm:pt>
    <dgm:pt modelId="{3D6F29C3-B70E-453C-840B-5261493E26EB}" type="pres">
      <dgm:prSet presAssocID="{D8387A61-8FE0-4EB9-9893-BF4573E72523}" presName="accent_2" presStyleCnt="0"/>
      <dgm:spPr/>
    </dgm:pt>
    <dgm:pt modelId="{2EFD33AF-CA8B-462B-97C4-CC35A456B3B7}" type="pres">
      <dgm:prSet presAssocID="{D8387A61-8FE0-4EB9-9893-BF4573E72523}" presName="accentRepeatNode" presStyleLbl="solidFgAcc1" presStyleIdx="1" presStyleCnt="3"/>
      <dgm:spPr/>
    </dgm:pt>
    <dgm:pt modelId="{D570205D-F7F9-4F01-AE04-7AF1FE35B19E}" type="pres">
      <dgm:prSet presAssocID="{57E2AA5C-288D-4D3B-9EBE-23A5EF18FC8A}" presName="text_3" presStyleLbl="node1" presStyleIdx="2" presStyleCnt="3">
        <dgm:presLayoutVars>
          <dgm:bulletEnabled val="1"/>
        </dgm:presLayoutVars>
      </dgm:prSet>
      <dgm:spPr/>
      <dgm:t>
        <a:bodyPr/>
        <a:lstStyle/>
        <a:p>
          <a:endParaRPr lang="en-US"/>
        </a:p>
      </dgm:t>
    </dgm:pt>
    <dgm:pt modelId="{1730322C-3370-43FB-AE15-BB371FE4BFC4}" type="pres">
      <dgm:prSet presAssocID="{57E2AA5C-288D-4D3B-9EBE-23A5EF18FC8A}" presName="accent_3" presStyleCnt="0"/>
      <dgm:spPr/>
    </dgm:pt>
    <dgm:pt modelId="{1FFCCC44-62DD-4873-A046-6270E776D4F9}" type="pres">
      <dgm:prSet presAssocID="{57E2AA5C-288D-4D3B-9EBE-23A5EF18FC8A}" presName="accentRepeatNode" presStyleLbl="solidFgAcc1" presStyleIdx="2" presStyleCnt="3"/>
      <dgm:spPr/>
    </dgm:pt>
  </dgm:ptLst>
  <dgm:cxnLst>
    <dgm:cxn modelId="{1600DC11-7726-4F50-A48A-02C7C930D0F4}" srcId="{1DD907A9-B082-4987-BA53-73A32FB9EA75}" destId="{A53F1274-A116-4AAC-92D1-4B77B6F0DFE1}" srcOrd="0" destOrd="0" parTransId="{6222BC82-54C4-40FF-85DA-8902832D5452}" sibTransId="{0B63E9B0-66C2-4AB8-8E45-93C96BB3F99A}"/>
    <dgm:cxn modelId="{7BC9F471-ACD1-4321-882D-8B336810BC4A}" type="presOf" srcId="{1DD907A9-B082-4987-BA53-73A32FB9EA75}" destId="{6E3740BD-F4BF-4FAC-8251-E592463B5124}" srcOrd="0" destOrd="0" presId="urn:microsoft.com/office/officeart/2008/layout/VerticalCurvedList"/>
    <dgm:cxn modelId="{F51471DB-BEE6-4024-97BE-B1B94B379B0B}" srcId="{1DD907A9-B082-4987-BA53-73A32FB9EA75}" destId="{57E2AA5C-288D-4D3B-9EBE-23A5EF18FC8A}" srcOrd="2" destOrd="0" parTransId="{5AD370C9-2577-4706-A604-0DD405343D23}" sibTransId="{46B26636-0268-4692-996F-9349A05CC617}"/>
    <dgm:cxn modelId="{EF5F030D-61F3-4772-B320-DBC9F48166A3}" type="presOf" srcId="{57E2AA5C-288D-4D3B-9EBE-23A5EF18FC8A}" destId="{D570205D-F7F9-4F01-AE04-7AF1FE35B19E}" srcOrd="0" destOrd="0" presId="urn:microsoft.com/office/officeart/2008/layout/VerticalCurvedList"/>
    <dgm:cxn modelId="{BD38F882-E63E-416E-B921-41E9825E66B3}" type="presOf" srcId="{A53F1274-A116-4AAC-92D1-4B77B6F0DFE1}" destId="{51218AF5-DB4E-4C32-B903-06938896C5E5}" srcOrd="0" destOrd="0" presId="urn:microsoft.com/office/officeart/2008/layout/VerticalCurvedList"/>
    <dgm:cxn modelId="{EE58159C-4396-4AA6-9186-96EC9D41EA15}" srcId="{1DD907A9-B082-4987-BA53-73A32FB9EA75}" destId="{D8387A61-8FE0-4EB9-9893-BF4573E72523}" srcOrd="1" destOrd="0" parTransId="{A547F9E5-6579-45A2-9B45-CE4239E502DB}" sibTransId="{B124496D-F756-410A-8975-C275F6E075EB}"/>
    <dgm:cxn modelId="{FC63CF2C-2836-4A50-B416-7A6D2C58C2CB}" type="presOf" srcId="{D8387A61-8FE0-4EB9-9893-BF4573E72523}" destId="{ABFD3530-B97A-47BF-8457-A7661A3DD75E}" srcOrd="0" destOrd="0" presId="urn:microsoft.com/office/officeart/2008/layout/VerticalCurvedList"/>
    <dgm:cxn modelId="{C916086B-84D6-4784-A246-ADDB90411399}" type="presOf" srcId="{0B63E9B0-66C2-4AB8-8E45-93C96BB3F99A}" destId="{DFDF1EAD-436C-4044-B1C9-0350448E3E58}" srcOrd="0" destOrd="0" presId="urn:microsoft.com/office/officeart/2008/layout/VerticalCurvedList"/>
    <dgm:cxn modelId="{AD8C07B5-184B-4705-8715-8AB38827DA9C}" type="presParOf" srcId="{6E3740BD-F4BF-4FAC-8251-E592463B5124}" destId="{A7D01EC7-FADF-48B0-AAAB-5FEE624F08D0}" srcOrd="0" destOrd="0" presId="urn:microsoft.com/office/officeart/2008/layout/VerticalCurvedList"/>
    <dgm:cxn modelId="{5ABC885D-C255-4BCB-B118-1C9332A893D9}" type="presParOf" srcId="{A7D01EC7-FADF-48B0-AAAB-5FEE624F08D0}" destId="{D497DFCE-7DFD-48ED-B74D-9A17E7FC0277}" srcOrd="0" destOrd="0" presId="urn:microsoft.com/office/officeart/2008/layout/VerticalCurvedList"/>
    <dgm:cxn modelId="{F5EF6E74-F160-48EA-9713-81BC2F83C2B2}" type="presParOf" srcId="{D497DFCE-7DFD-48ED-B74D-9A17E7FC0277}" destId="{E410AA4F-4DE7-4EE0-A8FF-31DBE8D10BE1}" srcOrd="0" destOrd="0" presId="urn:microsoft.com/office/officeart/2008/layout/VerticalCurvedList"/>
    <dgm:cxn modelId="{CC5B9A0C-49F7-413C-AF1F-D0FBFD879A79}" type="presParOf" srcId="{D497DFCE-7DFD-48ED-B74D-9A17E7FC0277}" destId="{DFDF1EAD-436C-4044-B1C9-0350448E3E58}" srcOrd="1" destOrd="0" presId="urn:microsoft.com/office/officeart/2008/layout/VerticalCurvedList"/>
    <dgm:cxn modelId="{CDC4D0DC-0208-404F-B89B-123C6B9B0E66}" type="presParOf" srcId="{D497DFCE-7DFD-48ED-B74D-9A17E7FC0277}" destId="{F6905110-EFE9-4353-ABBC-4145E26B420A}" srcOrd="2" destOrd="0" presId="urn:microsoft.com/office/officeart/2008/layout/VerticalCurvedList"/>
    <dgm:cxn modelId="{0C5892C7-8321-4224-BCFD-113E70799C3C}" type="presParOf" srcId="{D497DFCE-7DFD-48ED-B74D-9A17E7FC0277}" destId="{E2EA0273-1447-4BF9-97EF-E2DA98BCA758}" srcOrd="3" destOrd="0" presId="urn:microsoft.com/office/officeart/2008/layout/VerticalCurvedList"/>
    <dgm:cxn modelId="{1ED4311E-F178-49B0-A4B9-8DBF2AB9B019}" type="presParOf" srcId="{A7D01EC7-FADF-48B0-AAAB-5FEE624F08D0}" destId="{51218AF5-DB4E-4C32-B903-06938896C5E5}" srcOrd="1" destOrd="0" presId="urn:microsoft.com/office/officeart/2008/layout/VerticalCurvedList"/>
    <dgm:cxn modelId="{9CBB5252-8282-4ED8-A10F-797DAECE7C63}" type="presParOf" srcId="{A7D01EC7-FADF-48B0-AAAB-5FEE624F08D0}" destId="{7038CFBC-589E-4DB8-8CB8-E2A5074E7473}" srcOrd="2" destOrd="0" presId="urn:microsoft.com/office/officeart/2008/layout/VerticalCurvedList"/>
    <dgm:cxn modelId="{44382207-1F29-4FDA-A6C3-44CC02A4FAF9}" type="presParOf" srcId="{7038CFBC-589E-4DB8-8CB8-E2A5074E7473}" destId="{838BC13C-DF4B-49BD-88DD-CAF24441F200}" srcOrd="0" destOrd="0" presId="urn:microsoft.com/office/officeart/2008/layout/VerticalCurvedList"/>
    <dgm:cxn modelId="{4F4AD192-EC6C-4E4C-A90A-7CD6145F0A74}" type="presParOf" srcId="{A7D01EC7-FADF-48B0-AAAB-5FEE624F08D0}" destId="{ABFD3530-B97A-47BF-8457-A7661A3DD75E}" srcOrd="3" destOrd="0" presId="urn:microsoft.com/office/officeart/2008/layout/VerticalCurvedList"/>
    <dgm:cxn modelId="{4B1EBA2E-BC57-4FAB-A3B6-11B37F2F6B8B}" type="presParOf" srcId="{A7D01EC7-FADF-48B0-AAAB-5FEE624F08D0}" destId="{3D6F29C3-B70E-453C-840B-5261493E26EB}" srcOrd="4" destOrd="0" presId="urn:microsoft.com/office/officeart/2008/layout/VerticalCurvedList"/>
    <dgm:cxn modelId="{DF2F3B5E-0666-410E-A668-38FBFDCB2C24}" type="presParOf" srcId="{3D6F29C3-B70E-453C-840B-5261493E26EB}" destId="{2EFD33AF-CA8B-462B-97C4-CC35A456B3B7}" srcOrd="0" destOrd="0" presId="urn:microsoft.com/office/officeart/2008/layout/VerticalCurvedList"/>
    <dgm:cxn modelId="{A53E1292-512E-4433-9E59-718E5B722B4E}" type="presParOf" srcId="{A7D01EC7-FADF-48B0-AAAB-5FEE624F08D0}" destId="{D570205D-F7F9-4F01-AE04-7AF1FE35B19E}" srcOrd="5" destOrd="0" presId="urn:microsoft.com/office/officeart/2008/layout/VerticalCurvedList"/>
    <dgm:cxn modelId="{8B44400E-EFD9-481F-BC9E-911B4599ECAF}" type="presParOf" srcId="{A7D01EC7-FADF-48B0-AAAB-5FEE624F08D0}" destId="{1730322C-3370-43FB-AE15-BB371FE4BFC4}" srcOrd="6" destOrd="0" presId="urn:microsoft.com/office/officeart/2008/layout/VerticalCurvedList"/>
    <dgm:cxn modelId="{71EEA52C-6BEF-4C94-93D8-3F9A32A262ED}" type="presParOf" srcId="{1730322C-3370-43FB-AE15-BB371FE4BFC4}" destId="{1FFCCC44-62DD-4873-A046-6270E776D4F9}"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17CA265-5A5E-417D-AD14-9746F5569FDA}" type="doc">
      <dgm:prSet loTypeId="urn:microsoft.com/office/officeart/2005/8/layout/vList3" loCatId="list" qsTypeId="urn:microsoft.com/office/officeart/2005/8/quickstyle/simple1" qsCatId="simple" csTypeId="urn:microsoft.com/office/officeart/2005/8/colors/accent1_1" csCatId="accent1" phldr="1"/>
      <dgm:spPr/>
    </dgm:pt>
    <dgm:pt modelId="{3A0DC618-C878-42B7-8665-E48F5B850B5D}">
      <dgm:prSet phldrT="[Text]"/>
      <dgm:spPr/>
      <dgm:t>
        <a:bodyPr/>
        <a:lstStyle/>
        <a:p>
          <a:r>
            <a:rPr lang="en-GB" dirty="0" smtClean="0"/>
            <a:t>Tenor too high</a:t>
          </a:r>
          <a:endParaRPr lang="en-US" dirty="0"/>
        </a:p>
      </dgm:t>
    </dgm:pt>
    <dgm:pt modelId="{F7C3105E-F6F4-4B08-A5DD-BD42DD0E9B8D}" type="parTrans" cxnId="{DBE06903-0A83-4F31-AAEE-6A00E8F32005}">
      <dgm:prSet/>
      <dgm:spPr/>
      <dgm:t>
        <a:bodyPr/>
        <a:lstStyle/>
        <a:p>
          <a:endParaRPr lang="en-US"/>
        </a:p>
      </dgm:t>
    </dgm:pt>
    <dgm:pt modelId="{EDD6D89E-E5D9-4553-8090-2F6E1948B183}" type="sibTrans" cxnId="{DBE06903-0A83-4F31-AAEE-6A00E8F32005}">
      <dgm:prSet/>
      <dgm:spPr/>
      <dgm:t>
        <a:bodyPr/>
        <a:lstStyle/>
        <a:p>
          <a:endParaRPr lang="en-US"/>
        </a:p>
      </dgm:t>
    </dgm:pt>
    <dgm:pt modelId="{5658E16B-8C53-4478-A4CA-64EFD6563C49}">
      <dgm:prSet phldrT="[Text]"/>
      <dgm:spPr/>
      <dgm:t>
        <a:bodyPr/>
        <a:lstStyle/>
        <a:p>
          <a:r>
            <a:rPr lang="en-GB" dirty="0" smtClean="0"/>
            <a:t>Uncapped exposure</a:t>
          </a:r>
          <a:endParaRPr lang="en-US" dirty="0"/>
        </a:p>
      </dgm:t>
    </dgm:pt>
    <dgm:pt modelId="{92C698DA-C995-4519-86EE-92DD0AD07A88}" type="parTrans" cxnId="{14534881-7954-4A12-BEF4-8E2F8EB13310}">
      <dgm:prSet/>
      <dgm:spPr/>
      <dgm:t>
        <a:bodyPr/>
        <a:lstStyle/>
        <a:p>
          <a:endParaRPr lang="en-US"/>
        </a:p>
      </dgm:t>
    </dgm:pt>
    <dgm:pt modelId="{FE26CA58-CFE9-4CF5-A579-7082C945F74F}" type="sibTrans" cxnId="{14534881-7954-4A12-BEF4-8E2F8EB13310}">
      <dgm:prSet/>
      <dgm:spPr/>
      <dgm:t>
        <a:bodyPr/>
        <a:lstStyle/>
        <a:p>
          <a:endParaRPr lang="en-US"/>
        </a:p>
      </dgm:t>
    </dgm:pt>
    <dgm:pt modelId="{E6A30F0B-6004-4C00-A516-95360FD25041}">
      <dgm:prSet phldrT="[Text]"/>
      <dgm:spPr/>
      <dgm:t>
        <a:bodyPr/>
        <a:lstStyle/>
        <a:p>
          <a:r>
            <a:rPr lang="en-GB" dirty="0" smtClean="0"/>
            <a:t>Pricing transparency</a:t>
          </a:r>
          <a:endParaRPr lang="en-US" dirty="0"/>
        </a:p>
      </dgm:t>
    </dgm:pt>
    <dgm:pt modelId="{0004AAAC-401A-4BE1-B9C3-0677AF37E4FE}" type="parTrans" cxnId="{C5A2A377-2EE7-454E-B685-C56EBDF43C08}">
      <dgm:prSet/>
      <dgm:spPr/>
      <dgm:t>
        <a:bodyPr/>
        <a:lstStyle/>
        <a:p>
          <a:endParaRPr lang="en-US"/>
        </a:p>
      </dgm:t>
    </dgm:pt>
    <dgm:pt modelId="{7F917924-AD39-4E58-BB91-2E205B4A8D20}" type="sibTrans" cxnId="{C5A2A377-2EE7-454E-B685-C56EBDF43C08}">
      <dgm:prSet/>
      <dgm:spPr/>
      <dgm:t>
        <a:bodyPr/>
        <a:lstStyle/>
        <a:p>
          <a:endParaRPr lang="en-US"/>
        </a:p>
      </dgm:t>
    </dgm:pt>
    <dgm:pt modelId="{8EBFA08E-0F6E-4249-B1F2-5EED20BDDFBF}">
      <dgm:prSet phldrT="[Text]"/>
      <dgm:spPr/>
      <dgm:t>
        <a:bodyPr/>
        <a:lstStyle/>
        <a:p>
          <a:r>
            <a:rPr lang="en-GB" dirty="0" smtClean="0"/>
            <a:t>Volatility</a:t>
          </a:r>
          <a:endParaRPr lang="en-US" dirty="0"/>
        </a:p>
      </dgm:t>
    </dgm:pt>
    <dgm:pt modelId="{9B40AFBB-9245-4515-A3E7-0A2BB2341B02}" type="parTrans" cxnId="{DF551ECF-BCB5-440A-B951-021401A5BB6A}">
      <dgm:prSet/>
      <dgm:spPr/>
      <dgm:t>
        <a:bodyPr/>
        <a:lstStyle/>
        <a:p>
          <a:endParaRPr lang="en-US"/>
        </a:p>
      </dgm:t>
    </dgm:pt>
    <dgm:pt modelId="{0D968D63-D758-461F-9163-9AE31B567E9C}" type="sibTrans" cxnId="{DF551ECF-BCB5-440A-B951-021401A5BB6A}">
      <dgm:prSet/>
      <dgm:spPr/>
      <dgm:t>
        <a:bodyPr/>
        <a:lstStyle/>
        <a:p>
          <a:endParaRPr lang="en-US"/>
        </a:p>
      </dgm:t>
    </dgm:pt>
    <dgm:pt modelId="{ABDED4BF-423A-4AF0-A294-E8B3E374B86E}">
      <dgm:prSet phldrT="[Text]"/>
      <dgm:spPr/>
      <dgm:t>
        <a:bodyPr/>
        <a:lstStyle/>
        <a:p>
          <a:r>
            <a:rPr lang="en-GB" dirty="0" smtClean="0"/>
            <a:t>Medical advances</a:t>
          </a:r>
          <a:endParaRPr lang="en-US" dirty="0"/>
        </a:p>
      </dgm:t>
    </dgm:pt>
    <dgm:pt modelId="{8CE73AB2-F729-4ED7-93B3-AD2EB26DD8A0}" type="parTrans" cxnId="{AF1DA45F-FA83-42B6-9588-CF6DA104333B}">
      <dgm:prSet/>
      <dgm:spPr/>
      <dgm:t>
        <a:bodyPr/>
        <a:lstStyle/>
        <a:p>
          <a:endParaRPr lang="en-US"/>
        </a:p>
      </dgm:t>
    </dgm:pt>
    <dgm:pt modelId="{581C47A6-FABA-461D-9818-508A131D2C89}" type="sibTrans" cxnId="{AF1DA45F-FA83-42B6-9588-CF6DA104333B}">
      <dgm:prSet/>
      <dgm:spPr/>
      <dgm:t>
        <a:bodyPr/>
        <a:lstStyle/>
        <a:p>
          <a:endParaRPr lang="en-US"/>
        </a:p>
      </dgm:t>
    </dgm:pt>
    <dgm:pt modelId="{4D8ACD31-0E7C-41A0-865A-68B1DDBF358B}" type="pres">
      <dgm:prSet presAssocID="{417CA265-5A5E-417D-AD14-9746F5569FDA}" presName="linearFlow" presStyleCnt="0">
        <dgm:presLayoutVars>
          <dgm:dir/>
          <dgm:resizeHandles val="exact"/>
        </dgm:presLayoutVars>
      </dgm:prSet>
      <dgm:spPr/>
    </dgm:pt>
    <dgm:pt modelId="{3A94505B-6E18-49F2-9215-10EDBDEB5731}" type="pres">
      <dgm:prSet presAssocID="{3A0DC618-C878-42B7-8665-E48F5B850B5D}" presName="composite" presStyleCnt="0"/>
      <dgm:spPr/>
    </dgm:pt>
    <dgm:pt modelId="{89B920D6-52A5-4D3B-A109-4E64D6ED675E}" type="pres">
      <dgm:prSet presAssocID="{3A0DC618-C878-42B7-8665-E48F5B850B5D}" presName="imgShp" presStyleLbl="fgImgPlace1" presStyleIdx="0" presStyleCnt="5"/>
      <dgm:spPr>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000" b="-1000"/>
          </a:stretch>
        </a:blipFill>
      </dgm:spPr>
    </dgm:pt>
    <dgm:pt modelId="{04FAC49F-1DA9-4F97-9AF4-9DA9C179FF4C}" type="pres">
      <dgm:prSet presAssocID="{3A0DC618-C878-42B7-8665-E48F5B850B5D}" presName="txShp" presStyleLbl="node1" presStyleIdx="0" presStyleCnt="5">
        <dgm:presLayoutVars>
          <dgm:bulletEnabled val="1"/>
        </dgm:presLayoutVars>
      </dgm:prSet>
      <dgm:spPr/>
      <dgm:t>
        <a:bodyPr/>
        <a:lstStyle/>
        <a:p>
          <a:endParaRPr lang="en-US"/>
        </a:p>
      </dgm:t>
    </dgm:pt>
    <dgm:pt modelId="{4B938FE8-6775-4ACE-80C3-707468CE33DE}" type="pres">
      <dgm:prSet presAssocID="{EDD6D89E-E5D9-4553-8090-2F6E1948B183}" presName="spacing" presStyleCnt="0"/>
      <dgm:spPr/>
    </dgm:pt>
    <dgm:pt modelId="{72423E42-5B82-4E5C-BB2B-24BD34CAD0FD}" type="pres">
      <dgm:prSet presAssocID="{5658E16B-8C53-4478-A4CA-64EFD6563C49}" presName="composite" presStyleCnt="0"/>
      <dgm:spPr/>
    </dgm:pt>
    <dgm:pt modelId="{5134019A-555E-49A1-B7CE-9F4D0E34CD34}" type="pres">
      <dgm:prSet presAssocID="{5658E16B-8C53-4478-A4CA-64EFD6563C49}" presName="imgShp" presStyleLbl="fgImgPlace1" presStyleIdx="1" presStyleCnt="5"/>
      <dgm:spPr>
        <a:prstGeom prst="rect">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3624" b="4484"/>
          </a:stretch>
        </a:blipFill>
      </dgm:spPr>
    </dgm:pt>
    <dgm:pt modelId="{D3C1C613-F339-45F9-B147-A370A83D1903}" type="pres">
      <dgm:prSet presAssocID="{5658E16B-8C53-4478-A4CA-64EFD6563C49}" presName="txShp" presStyleLbl="node1" presStyleIdx="1" presStyleCnt="5">
        <dgm:presLayoutVars>
          <dgm:bulletEnabled val="1"/>
        </dgm:presLayoutVars>
      </dgm:prSet>
      <dgm:spPr/>
      <dgm:t>
        <a:bodyPr/>
        <a:lstStyle/>
        <a:p>
          <a:endParaRPr lang="en-GB"/>
        </a:p>
      </dgm:t>
    </dgm:pt>
    <dgm:pt modelId="{9B3CC3EA-ACE4-4F78-BFC9-A003F12498C6}" type="pres">
      <dgm:prSet presAssocID="{FE26CA58-CFE9-4CF5-A579-7082C945F74F}" presName="spacing" presStyleCnt="0"/>
      <dgm:spPr/>
    </dgm:pt>
    <dgm:pt modelId="{8E59F7BD-299F-4029-9945-BCB16A5F1AD4}" type="pres">
      <dgm:prSet presAssocID="{E6A30F0B-6004-4C00-A516-95360FD25041}" presName="composite" presStyleCnt="0"/>
      <dgm:spPr/>
    </dgm:pt>
    <dgm:pt modelId="{8369CD7A-B4DE-48A1-A979-4004650DF0C8}" type="pres">
      <dgm:prSet presAssocID="{E6A30F0B-6004-4C00-A516-95360FD25041}" presName="imgShp" presStyleLbl="fgImgPlace1" presStyleIdx="2" presStyleCnt="5"/>
      <dgm:spPr>
        <a:prstGeom prst="rect">
          <a:avLst/>
        </a:prstGeom>
        <a:blipFill>
          <a:blip xmlns:r="http://schemas.openxmlformats.org/officeDocument/2006/relationships" r:embed="rId3">
            <a:biLevel thresh="50000"/>
            <a:extLst>
              <a:ext uri="{28A0092B-C50C-407E-A947-70E740481C1C}">
                <a14:useLocalDpi xmlns:a14="http://schemas.microsoft.com/office/drawing/2010/main" val="0"/>
              </a:ext>
            </a:extLst>
          </a:blip>
          <a:srcRect/>
          <a:stretch>
            <a:fillRect t="-1000" b="-1000"/>
          </a:stretch>
        </a:blipFill>
      </dgm:spPr>
    </dgm:pt>
    <dgm:pt modelId="{F1E2C238-7849-46EF-8ACD-DEBD094C2269}" type="pres">
      <dgm:prSet presAssocID="{E6A30F0B-6004-4C00-A516-95360FD25041}" presName="txShp" presStyleLbl="node1" presStyleIdx="2" presStyleCnt="5">
        <dgm:presLayoutVars>
          <dgm:bulletEnabled val="1"/>
        </dgm:presLayoutVars>
      </dgm:prSet>
      <dgm:spPr/>
      <dgm:t>
        <a:bodyPr/>
        <a:lstStyle/>
        <a:p>
          <a:endParaRPr lang="en-GB"/>
        </a:p>
      </dgm:t>
    </dgm:pt>
    <dgm:pt modelId="{98CC1B50-DC1E-43D7-9877-25C5B7520AAF}" type="pres">
      <dgm:prSet presAssocID="{7F917924-AD39-4E58-BB91-2E205B4A8D20}" presName="spacing" presStyleCnt="0"/>
      <dgm:spPr/>
    </dgm:pt>
    <dgm:pt modelId="{FF91B58E-F4F8-4E6E-9C3A-D91D86063EDE}" type="pres">
      <dgm:prSet presAssocID="{8EBFA08E-0F6E-4249-B1F2-5EED20BDDFBF}" presName="composite" presStyleCnt="0"/>
      <dgm:spPr/>
    </dgm:pt>
    <dgm:pt modelId="{CCCC67F4-D0D8-4279-A9AE-F4CA7BE02E6A}" type="pres">
      <dgm:prSet presAssocID="{8EBFA08E-0F6E-4249-B1F2-5EED20BDDFBF}" presName="imgShp" presStyleLbl="fgImgPlace1" presStyleIdx="3" presStyleCnt="5"/>
      <dgm:spPr>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AD587799-2C1A-417C-A5B0-3E27046CAD49}" type="pres">
      <dgm:prSet presAssocID="{8EBFA08E-0F6E-4249-B1F2-5EED20BDDFBF}" presName="txShp" presStyleLbl="node1" presStyleIdx="3" presStyleCnt="5">
        <dgm:presLayoutVars>
          <dgm:bulletEnabled val="1"/>
        </dgm:presLayoutVars>
      </dgm:prSet>
      <dgm:spPr/>
      <dgm:t>
        <a:bodyPr/>
        <a:lstStyle/>
        <a:p>
          <a:endParaRPr lang="en-GB"/>
        </a:p>
      </dgm:t>
    </dgm:pt>
    <dgm:pt modelId="{EB4930F6-5B4B-411E-A62F-4FD10D3DF240}" type="pres">
      <dgm:prSet presAssocID="{0D968D63-D758-461F-9163-9AE31B567E9C}" presName="spacing" presStyleCnt="0"/>
      <dgm:spPr/>
    </dgm:pt>
    <dgm:pt modelId="{274A3E58-8613-4D32-AC52-2427F1426794}" type="pres">
      <dgm:prSet presAssocID="{ABDED4BF-423A-4AF0-A294-E8B3E374B86E}" presName="composite" presStyleCnt="0"/>
      <dgm:spPr/>
    </dgm:pt>
    <dgm:pt modelId="{86F6887A-5BAB-4A92-9B30-1B6206D5791F}" type="pres">
      <dgm:prSet presAssocID="{ABDED4BF-423A-4AF0-A294-E8B3E374B86E}" presName="imgShp" presStyleLbl="fgImgPlace1" presStyleIdx="4" presStyleCnt="5"/>
      <dgm:spPr>
        <a:prstGeom prst="rect">
          <a:avLst/>
        </a:prstGeom>
        <a:blipFill>
          <a:blip xmlns:r="http://schemas.openxmlformats.org/officeDocument/2006/relationships" r:embed="rId5">
            <a:biLevel thresh="50000"/>
            <a:extLst>
              <a:ext uri="{28A0092B-C50C-407E-A947-70E740481C1C}">
                <a14:useLocalDpi xmlns:a14="http://schemas.microsoft.com/office/drawing/2010/main" val="0"/>
              </a:ext>
            </a:extLst>
          </a:blip>
          <a:srcRect/>
          <a:stretch>
            <a:fillRect t="-1000" b="-1000"/>
          </a:stretch>
        </a:blipFill>
      </dgm:spPr>
    </dgm:pt>
    <dgm:pt modelId="{5A5B4598-4389-4364-9675-10C59F7BD084}" type="pres">
      <dgm:prSet presAssocID="{ABDED4BF-423A-4AF0-A294-E8B3E374B86E}" presName="txShp" presStyleLbl="node1" presStyleIdx="4" presStyleCnt="5">
        <dgm:presLayoutVars>
          <dgm:bulletEnabled val="1"/>
        </dgm:presLayoutVars>
      </dgm:prSet>
      <dgm:spPr/>
      <dgm:t>
        <a:bodyPr/>
        <a:lstStyle/>
        <a:p>
          <a:endParaRPr lang="en-US"/>
        </a:p>
      </dgm:t>
    </dgm:pt>
  </dgm:ptLst>
  <dgm:cxnLst>
    <dgm:cxn modelId="{F1D9B4B4-74CD-45BA-9F4F-6E927954246D}" type="presOf" srcId="{3A0DC618-C878-42B7-8665-E48F5B850B5D}" destId="{04FAC49F-1DA9-4F97-9AF4-9DA9C179FF4C}" srcOrd="0" destOrd="0" presId="urn:microsoft.com/office/officeart/2005/8/layout/vList3"/>
    <dgm:cxn modelId="{D80821E1-0119-49BF-A335-5094AC875CF7}" type="presOf" srcId="{E6A30F0B-6004-4C00-A516-95360FD25041}" destId="{F1E2C238-7849-46EF-8ACD-DEBD094C2269}" srcOrd="0" destOrd="0" presId="urn:microsoft.com/office/officeart/2005/8/layout/vList3"/>
    <dgm:cxn modelId="{DBE06903-0A83-4F31-AAEE-6A00E8F32005}" srcId="{417CA265-5A5E-417D-AD14-9746F5569FDA}" destId="{3A0DC618-C878-42B7-8665-E48F5B850B5D}" srcOrd="0" destOrd="0" parTransId="{F7C3105E-F6F4-4B08-A5DD-BD42DD0E9B8D}" sibTransId="{EDD6D89E-E5D9-4553-8090-2F6E1948B183}"/>
    <dgm:cxn modelId="{70B376AB-2FF5-4D70-9888-4DFB1E17DE6F}" type="presOf" srcId="{5658E16B-8C53-4478-A4CA-64EFD6563C49}" destId="{D3C1C613-F339-45F9-B147-A370A83D1903}" srcOrd="0" destOrd="0" presId="urn:microsoft.com/office/officeart/2005/8/layout/vList3"/>
    <dgm:cxn modelId="{57BDE677-FC58-4334-BF60-06CF361B291E}" type="presOf" srcId="{8EBFA08E-0F6E-4249-B1F2-5EED20BDDFBF}" destId="{AD587799-2C1A-417C-A5B0-3E27046CAD49}" srcOrd="0" destOrd="0" presId="urn:microsoft.com/office/officeart/2005/8/layout/vList3"/>
    <dgm:cxn modelId="{340D5DBB-B3FA-4816-895C-108F2505DC6A}" type="presOf" srcId="{417CA265-5A5E-417D-AD14-9746F5569FDA}" destId="{4D8ACD31-0E7C-41A0-865A-68B1DDBF358B}" srcOrd="0" destOrd="0" presId="urn:microsoft.com/office/officeart/2005/8/layout/vList3"/>
    <dgm:cxn modelId="{C5A2A377-2EE7-454E-B685-C56EBDF43C08}" srcId="{417CA265-5A5E-417D-AD14-9746F5569FDA}" destId="{E6A30F0B-6004-4C00-A516-95360FD25041}" srcOrd="2" destOrd="0" parTransId="{0004AAAC-401A-4BE1-B9C3-0677AF37E4FE}" sibTransId="{7F917924-AD39-4E58-BB91-2E205B4A8D20}"/>
    <dgm:cxn modelId="{14534881-7954-4A12-BEF4-8E2F8EB13310}" srcId="{417CA265-5A5E-417D-AD14-9746F5569FDA}" destId="{5658E16B-8C53-4478-A4CA-64EFD6563C49}" srcOrd="1" destOrd="0" parTransId="{92C698DA-C995-4519-86EE-92DD0AD07A88}" sibTransId="{FE26CA58-CFE9-4CF5-A579-7082C945F74F}"/>
    <dgm:cxn modelId="{AF1DA45F-FA83-42B6-9588-CF6DA104333B}" srcId="{417CA265-5A5E-417D-AD14-9746F5569FDA}" destId="{ABDED4BF-423A-4AF0-A294-E8B3E374B86E}" srcOrd="4" destOrd="0" parTransId="{8CE73AB2-F729-4ED7-93B3-AD2EB26DD8A0}" sibTransId="{581C47A6-FABA-461D-9818-508A131D2C89}"/>
    <dgm:cxn modelId="{6FDB8B42-B2D7-49C3-810F-AE3570CFB1F6}" type="presOf" srcId="{ABDED4BF-423A-4AF0-A294-E8B3E374B86E}" destId="{5A5B4598-4389-4364-9675-10C59F7BD084}" srcOrd="0" destOrd="0" presId="urn:microsoft.com/office/officeart/2005/8/layout/vList3"/>
    <dgm:cxn modelId="{DF551ECF-BCB5-440A-B951-021401A5BB6A}" srcId="{417CA265-5A5E-417D-AD14-9746F5569FDA}" destId="{8EBFA08E-0F6E-4249-B1F2-5EED20BDDFBF}" srcOrd="3" destOrd="0" parTransId="{9B40AFBB-9245-4515-A3E7-0A2BB2341B02}" sibTransId="{0D968D63-D758-461F-9163-9AE31B567E9C}"/>
    <dgm:cxn modelId="{8FD79652-9084-4A07-A37B-5A098E2C2D63}" type="presParOf" srcId="{4D8ACD31-0E7C-41A0-865A-68B1DDBF358B}" destId="{3A94505B-6E18-49F2-9215-10EDBDEB5731}" srcOrd="0" destOrd="0" presId="urn:microsoft.com/office/officeart/2005/8/layout/vList3"/>
    <dgm:cxn modelId="{C745C2B2-4EA3-4FDF-BD76-6DE467D16457}" type="presParOf" srcId="{3A94505B-6E18-49F2-9215-10EDBDEB5731}" destId="{89B920D6-52A5-4D3B-A109-4E64D6ED675E}" srcOrd="0" destOrd="0" presId="urn:microsoft.com/office/officeart/2005/8/layout/vList3"/>
    <dgm:cxn modelId="{D653DE30-F445-4D12-9367-DFE03ABF4377}" type="presParOf" srcId="{3A94505B-6E18-49F2-9215-10EDBDEB5731}" destId="{04FAC49F-1DA9-4F97-9AF4-9DA9C179FF4C}" srcOrd="1" destOrd="0" presId="urn:microsoft.com/office/officeart/2005/8/layout/vList3"/>
    <dgm:cxn modelId="{E9888C88-AB27-4985-AC6E-D71556D0DCDC}" type="presParOf" srcId="{4D8ACD31-0E7C-41A0-865A-68B1DDBF358B}" destId="{4B938FE8-6775-4ACE-80C3-707468CE33DE}" srcOrd="1" destOrd="0" presId="urn:microsoft.com/office/officeart/2005/8/layout/vList3"/>
    <dgm:cxn modelId="{AED40C28-37CD-4833-93A1-8360D1FB1AE6}" type="presParOf" srcId="{4D8ACD31-0E7C-41A0-865A-68B1DDBF358B}" destId="{72423E42-5B82-4E5C-BB2B-24BD34CAD0FD}" srcOrd="2" destOrd="0" presId="urn:microsoft.com/office/officeart/2005/8/layout/vList3"/>
    <dgm:cxn modelId="{E3B0DBCC-2B4F-47AF-B3D8-D84DEBCD8E92}" type="presParOf" srcId="{72423E42-5B82-4E5C-BB2B-24BD34CAD0FD}" destId="{5134019A-555E-49A1-B7CE-9F4D0E34CD34}" srcOrd="0" destOrd="0" presId="urn:microsoft.com/office/officeart/2005/8/layout/vList3"/>
    <dgm:cxn modelId="{E44789FB-000C-4A9E-B33A-5D3F4D255633}" type="presParOf" srcId="{72423E42-5B82-4E5C-BB2B-24BD34CAD0FD}" destId="{D3C1C613-F339-45F9-B147-A370A83D1903}" srcOrd="1" destOrd="0" presId="urn:microsoft.com/office/officeart/2005/8/layout/vList3"/>
    <dgm:cxn modelId="{7A7D3FD7-9A25-4C5D-995A-5516DD23F6A2}" type="presParOf" srcId="{4D8ACD31-0E7C-41A0-865A-68B1DDBF358B}" destId="{9B3CC3EA-ACE4-4F78-BFC9-A003F12498C6}" srcOrd="3" destOrd="0" presId="urn:microsoft.com/office/officeart/2005/8/layout/vList3"/>
    <dgm:cxn modelId="{D487AF44-C20C-4148-82D3-DCFB00F13AA0}" type="presParOf" srcId="{4D8ACD31-0E7C-41A0-865A-68B1DDBF358B}" destId="{8E59F7BD-299F-4029-9945-BCB16A5F1AD4}" srcOrd="4" destOrd="0" presId="urn:microsoft.com/office/officeart/2005/8/layout/vList3"/>
    <dgm:cxn modelId="{A401B74A-5B90-4129-938F-DFB03923BE71}" type="presParOf" srcId="{8E59F7BD-299F-4029-9945-BCB16A5F1AD4}" destId="{8369CD7A-B4DE-48A1-A979-4004650DF0C8}" srcOrd="0" destOrd="0" presId="urn:microsoft.com/office/officeart/2005/8/layout/vList3"/>
    <dgm:cxn modelId="{E6FC1147-91B3-4057-B1B6-31BFDB303C0A}" type="presParOf" srcId="{8E59F7BD-299F-4029-9945-BCB16A5F1AD4}" destId="{F1E2C238-7849-46EF-8ACD-DEBD094C2269}" srcOrd="1" destOrd="0" presId="urn:microsoft.com/office/officeart/2005/8/layout/vList3"/>
    <dgm:cxn modelId="{A4C6100D-E6B0-45D8-A6FA-A3B3770EA732}" type="presParOf" srcId="{4D8ACD31-0E7C-41A0-865A-68B1DDBF358B}" destId="{98CC1B50-DC1E-43D7-9877-25C5B7520AAF}" srcOrd="5" destOrd="0" presId="urn:microsoft.com/office/officeart/2005/8/layout/vList3"/>
    <dgm:cxn modelId="{0A38EE49-6694-47CD-B011-3F8BDA4B2CBE}" type="presParOf" srcId="{4D8ACD31-0E7C-41A0-865A-68B1DDBF358B}" destId="{FF91B58E-F4F8-4E6E-9C3A-D91D86063EDE}" srcOrd="6" destOrd="0" presId="urn:microsoft.com/office/officeart/2005/8/layout/vList3"/>
    <dgm:cxn modelId="{4EC86E18-2B10-4DF0-BDE1-84C3EC13780A}" type="presParOf" srcId="{FF91B58E-F4F8-4E6E-9C3A-D91D86063EDE}" destId="{CCCC67F4-D0D8-4279-A9AE-F4CA7BE02E6A}" srcOrd="0" destOrd="0" presId="urn:microsoft.com/office/officeart/2005/8/layout/vList3"/>
    <dgm:cxn modelId="{E5B077B0-F7B4-4084-8423-8BE80FED8A06}" type="presParOf" srcId="{FF91B58E-F4F8-4E6E-9C3A-D91D86063EDE}" destId="{AD587799-2C1A-417C-A5B0-3E27046CAD49}" srcOrd="1" destOrd="0" presId="urn:microsoft.com/office/officeart/2005/8/layout/vList3"/>
    <dgm:cxn modelId="{CB200704-D4D1-49E7-A449-AD339C374BC4}" type="presParOf" srcId="{4D8ACD31-0E7C-41A0-865A-68B1DDBF358B}" destId="{EB4930F6-5B4B-411E-A62F-4FD10D3DF240}" srcOrd="7" destOrd="0" presId="urn:microsoft.com/office/officeart/2005/8/layout/vList3"/>
    <dgm:cxn modelId="{5FBC3DFA-79B4-4AB7-A672-DB5CCF76FF39}" type="presParOf" srcId="{4D8ACD31-0E7C-41A0-865A-68B1DDBF358B}" destId="{274A3E58-8613-4D32-AC52-2427F1426794}" srcOrd="8" destOrd="0" presId="urn:microsoft.com/office/officeart/2005/8/layout/vList3"/>
    <dgm:cxn modelId="{557EE2F2-4296-48BB-ADB5-54A6DBF15DF2}" type="presParOf" srcId="{274A3E58-8613-4D32-AC52-2427F1426794}" destId="{86F6887A-5BAB-4A92-9B30-1B6206D5791F}" srcOrd="0" destOrd="0" presId="urn:microsoft.com/office/officeart/2005/8/layout/vList3"/>
    <dgm:cxn modelId="{5A7DE5D0-EA5B-4F52-BCF6-B41F47FAED72}" type="presParOf" srcId="{274A3E58-8613-4D32-AC52-2427F1426794}" destId="{5A5B4598-4389-4364-9675-10C59F7BD084}"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090D53B4-B4FE-442B-BCF3-9023F49641CC}" type="datetimeFigureOut">
              <a:rPr lang="en-US" smtClean="0"/>
              <a:t>9/27/2016</a:t>
            </a:fld>
            <a:endParaRPr lang="en-US"/>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15E3EEC0-60C9-482C-B113-4433E60F7642}" type="slidenum">
              <a:rPr lang="en-US" smtClean="0"/>
              <a:t>‹#›</a:t>
            </a:fld>
            <a:endParaRPr lang="en-US"/>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20688" y="347663"/>
            <a:ext cx="5956300" cy="3351212"/>
          </a:xfrm>
          <a:prstGeom prst="rect">
            <a:avLst/>
          </a:prstGeom>
          <a:noFill/>
          <a:ln w="12700">
            <a:solidFill>
              <a:prstClr val="black"/>
            </a:solidFill>
          </a:ln>
        </p:spPr>
        <p:txBody>
          <a:bodyPr vert="horz" lIns="91440" tIns="45720" rIns="91440" bIns="45720" rtlCol="0" anchor="ctr"/>
          <a:lstStyle/>
          <a:p>
            <a:endParaRPr lang="en-US"/>
          </a:p>
        </p:txBody>
      </p:sp>
      <p:sp>
        <p:nvSpPr>
          <p:cNvPr id="9" name="Notes Placeholder 1"/>
          <p:cNvSpPr>
            <a:spLocks noGrp="1"/>
          </p:cNvSpPr>
          <p:nvPr>
            <p:ph type="body" sz="quarter" idx="3"/>
          </p:nvPr>
        </p:nvSpPr>
        <p:spPr>
          <a:xfrm>
            <a:off x="575914" y="3918954"/>
            <a:ext cx="5645847" cy="5666456"/>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p:cNvSpPr txBox="1">
            <a:spLocks/>
          </p:cNvSpPr>
          <p:nvPr/>
        </p:nvSpPr>
        <p:spPr bwMode="gray">
          <a:xfrm>
            <a:off x="3109307" y="9683251"/>
            <a:ext cx="579061" cy="130471"/>
          </a:xfrm>
          <a:prstGeom prst="rect">
            <a:avLst/>
          </a:prstGeom>
        </p:spPr>
        <p:txBody>
          <a:bodyPr wrap="non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5C0926A-889A-463A-A5EA-682F15689EEF}" type="slidenum">
              <a:rPr lang="en-US" sz="900" smtClean="0">
                <a:solidFill>
                  <a:schemeClr val="tx1"/>
                </a:solidFill>
              </a:rPr>
              <a:pPr algn="ctr"/>
              <a:t>‹#›</a:t>
            </a:fld>
            <a:endParaRPr lang="en-US" sz="900" dirty="0">
              <a:solidFill>
                <a:schemeClr val="tx1"/>
              </a:solidFill>
            </a:endParaRP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38113" indent="-138113" algn="l" defTabSz="914400" rtl="0" eaLnBrk="1" latinLnBrk="0" hangingPunct="1">
      <a:lnSpc>
        <a:spcPct val="90000"/>
      </a:lnSpc>
      <a:spcBef>
        <a:spcPts val="800"/>
      </a:spcBef>
      <a:buClr>
        <a:schemeClr val="accent1"/>
      </a:buClr>
      <a:buSzPct val="85000"/>
      <a:buFont typeface="Wingdings 2" panose="05020102010507070707" pitchFamily="18" charset="2"/>
      <a:buChar char="¡"/>
      <a:defRPr lang="en-US" sz="1200" kern="1200" dirty="0" smtClean="0">
        <a:solidFill>
          <a:schemeClr val="tx1"/>
        </a:solidFill>
        <a:effectLst/>
        <a:latin typeface="+mn-lt"/>
        <a:ea typeface="+mn-ea"/>
        <a:cs typeface="+mn-cs"/>
      </a:defRPr>
    </a:lvl1pPr>
    <a:lvl2pPr marL="304800" indent="-95250" algn="l" defTabSz="914400" rtl="0" eaLnBrk="1" latinLnBrk="0" hangingPunct="1">
      <a:lnSpc>
        <a:spcPct val="90000"/>
      </a:lnSpc>
      <a:spcBef>
        <a:spcPts val="400"/>
      </a:spcBef>
      <a:buClr>
        <a:schemeClr val="accent1"/>
      </a:buClr>
      <a:buFont typeface="Arial" pitchFamily="34" charset="0"/>
      <a:buChar char="•"/>
      <a:defRPr lang="en-US" sz="1100" kern="1200" dirty="0" smtClean="0">
        <a:solidFill>
          <a:schemeClr val="tx1"/>
        </a:solidFill>
        <a:effectLst/>
        <a:latin typeface="+mn-lt"/>
        <a:ea typeface="+mn-ea"/>
        <a:cs typeface="+mn-cs"/>
      </a:defRPr>
    </a:lvl2pPr>
    <a:lvl3pPr marL="485775" indent="-119063" algn="l" defTabSz="914400" rtl="0" eaLnBrk="1" latinLnBrk="0" hangingPunct="1">
      <a:lnSpc>
        <a:spcPct val="90000"/>
      </a:lnSpc>
      <a:spcBef>
        <a:spcPts val="200"/>
      </a:spcBef>
      <a:buClr>
        <a:schemeClr val="accent1"/>
      </a:buClr>
      <a:buFont typeface="Courier New" panose="02070309020205020404" pitchFamily="49" charset="0"/>
      <a:buChar char="o"/>
      <a:defRPr lang="en-US" sz="1000" kern="1200" dirty="0" smtClean="0">
        <a:solidFill>
          <a:schemeClr val="tx1"/>
        </a:solidFill>
        <a:effectLst/>
        <a:latin typeface="+mn-lt"/>
        <a:ea typeface="+mn-ea"/>
        <a:cs typeface="+mn-cs"/>
      </a:defRPr>
    </a:lvl3pPr>
    <a:lvl4pPr marL="676275" indent="-107950" algn="l" defTabSz="914400" rtl="0" eaLnBrk="1" latinLnBrk="0" hangingPunct="1">
      <a:lnSpc>
        <a:spcPct val="90000"/>
      </a:lnSpc>
      <a:spcBef>
        <a:spcPts val="100"/>
      </a:spcBef>
      <a:buClr>
        <a:schemeClr val="accent1"/>
      </a:buClr>
      <a:buFont typeface="Arial" panose="020B0604020202020204" pitchFamily="34" charset="0"/>
      <a:buChar char="•"/>
      <a:defRPr lang="en-US" sz="900" kern="1200" dirty="0" smtClean="0">
        <a:solidFill>
          <a:schemeClr val="tx1"/>
        </a:solidFill>
        <a:effectLst/>
        <a:latin typeface="+mn-lt"/>
        <a:ea typeface="+mn-ea"/>
        <a:cs typeface="+mn-cs"/>
      </a:defRPr>
    </a:lvl4pPr>
    <a:lvl5pPr marL="828675" indent="-95250" algn="l" defTabSz="914400" rtl="0" eaLnBrk="1" latinLnBrk="0" hangingPunct="1">
      <a:lnSpc>
        <a:spcPct val="90000"/>
      </a:lnSpc>
      <a:spcBef>
        <a:spcPts val="100"/>
      </a:spcBef>
      <a:buClr>
        <a:schemeClr val="accent1"/>
      </a:buClr>
      <a:buSzPct val="100000"/>
      <a:buFont typeface="Courier New" panose="02070309020205020404" pitchFamily="49" charset="0"/>
      <a:buChar char="o"/>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Image Placeholder 9"/>
          <p:cNvSpPr>
            <a:spLocks noGrp="1" noRot="1" noChangeAspect="1"/>
          </p:cNvSpPr>
          <p:nvPr>
            <p:ph type="sldImg"/>
          </p:nvPr>
        </p:nvSpPr>
        <p:spPr>
          <a:xfrm>
            <a:off x="420688" y="347663"/>
            <a:ext cx="5956300" cy="3351212"/>
          </a:xfrm>
        </p:spPr>
      </p:sp>
      <p:sp>
        <p:nvSpPr>
          <p:cNvPr id="11" name="Notes Placeholder 10"/>
          <p:cNvSpPr>
            <a:spLocks noGrp="1"/>
          </p:cNvSpPr>
          <p:nvPr>
            <p:ph type="body" idx="1"/>
          </p:nvPr>
        </p:nvSpPr>
        <p:spPr/>
        <p:txBody>
          <a:bodyPr/>
          <a:lstStyle/>
          <a:p>
            <a:endParaRPr lang="en-US"/>
          </a:p>
        </p:txBody>
      </p:sp>
    </p:spTree>
    <p:extLst>
      <p:ext uri="{BB962C8B-B14F-4D97-AF65-F5344CB8AC3E}">
        <p14:creationId xmlns:p14="http://schemas.microsoft.com/office/powerpoint/2010/main" val="2813256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dirty="0"/>
          </a:p>
        </p:txBody>
      </p:sp>
    </p:spTree>
    <p:extLst>
      <p:ext uri="{BB962C8B-B14F-4D97-AF65-F5344CB8AC3E}">
        <p14:creationId xmlns:p14="http://schemas.microsoft.com/office/powerpoint/2010/main" val="38305437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98411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42613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Tree>
    <p:extLst>
      <p:ext uri="{BB962C8B-B14F-4D97-AF65-F5344CB8AC3E}">
        <p14:creationId xmlns:p14="http://schemas.microsoft.com/office/powerpoint/2010/main" val="1408619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000" kern="1200" dirty="0" smtClean="0">
              <a:solidFill>
                <a:schemeClr val="tx1"/>
              </a:solidFill>
              <a:effectLst/>
              <a:latin typeface="+mn-lt"/>
              <a:ea typeface="+mn-ea"/>
              <a:cs typeface="+mn-cs"/>
            </a:endParaRPr>
          </a:p>
          <a:p>
            <a:pPr marL="0" indent="0">
              <a:buFontTx/>
              <a:buNone/>
            </a:pPr>
            <a:endParaRPr lang="en-GB" dirty="0"/>
          </a:p>
        </p:txBody>
      </p:sp>
    </p:spTree>
    <p:extLst>
      <p:ext uri="{BB962C8B-B14F-4D97-AF65-F5344CB8AC3E}">
        <p14:creationId xmlns:p14="http://schemas.microsoft.com/office/powerpoint/2010/main" val="3465924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3281276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8113" marR="0" indent="-138113" algn="l" defTabSz="914400" rtl="0" eaLnBrk="1" fontAlgn="auto" latinLnBrk="0" hangingPunct="1">
              <a:lnSpc>
                <a:spcPct val="90000"/>
              </a:lnSpc>
              <a:spcBef>
                <a:spcPts val="800"/>
              </a:spcBef>
              <a:spcAft>
                <a:spcPts val="0"/>
              </a:spcAft>
              <a:buClr>
                <a:schemeClr val="accent1"/>
              </a:buClr>
              <a:buSzPct val="85000"/>
              <a:buFont typeface="Wingdings 2" panose="05020102010507070707" pitchFamily="18" charset="2"/>
              <a:buChar char="¡"/>
              <a:tabLst/>
              <a:defRPr/>
            </a:pPr>
            <a:endParaRPr lang="en-GB" sz="1200" kern="1200" dirty="0" smtClean="0">
              <a:solidFill>
                <a:schemeClr val="tx1"/>
              </a:solidFill>
              <a:effectLst/>
              <a:latin typeface="+mn-lt"/>
              <a:ea typeface="+mn-ea"/>
              <a:cs typeface="+mn-cs"/>
            </a:endParaRPr>
          </a:p>
        </p:txBody>
      </p:sp>
    </p:spTree>
    <p:extLst>
      <p:ext uri="{BB962C8B-B14F-4D97-AF65-F5344CB8AC3E}">
        <p14:creationId xmlns:p14="http://schemas.microsoft.com/office/powerpoint/2010/main" val="20692524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75221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8113" indent="-138113"/>
            <a:endParaRPr lang="en-GB" b="1" dirty="0"/>
          </a:p>
        </p:txBody>
      </p:sp>
    </p:spTree>
    <p:extLst>
      <p:ext uri="{BB962C8B-B14F-4D97-AF65-F5344CB8AC3E}">
        <p14:creationId xmlns:p14="http://schemas.microsoft.com/office/powerpoint/2010/main" val="3271192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752218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Rectangle 12"/>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6" name="Freeform 5"/>
          <p:cNvSpPr>
            <a:spLocks noEditPoints="1"/>
          </p:cNvSpPr>
          <p:nvPr userDrawn="1"/>
        </p:nvSpPr>
        <p:spPr bwMode="gray">
          <a:xfrm>
            <a:off x="5084064" y="694944"/>
            <a:ext cx="1311443" cy="471714"/>
          </a:xfrm>
          <a:custGeom>
            <a:avLst/>
            <a:gdLst>
              <a:gd name="T0" fmla="*/ 2400 w 2814"/>
              <a:gd name="T1" fmla="*/ 18 h 1010"/>
              <a:gd name="T2" fmla="*/ 2124 w 2814"/>
              <a:gd name="T3" fmla="*/ 18 h 1010"/>
              <a:gd name="T4" fmla="*/ 1799 w 2814"/>
              <a:gd name="T5" fmla="*/ 783 h 1010"/>
              <a:gd name="T6" fmla="*/ 1799 w 2814"/>
              <a:gd name="T7" fmla="*/ 414 h 1010"/>
              <a:gd name="T8" fmla="*/ 1273 w 2814"/>
              <a:gd name="T9" fmla="*/ 414 h 1010"/>
              <a:gd name="T10" fmla="*/ 1273 w 2814"/>
              <a:gd name="T11" fmla="*/ 630 h 1010"/>
              <a:gd name="T12" fmla="*/ 1536 w 2814"/>
              <a:gd name="T13" fmla="*/ 630 h 1010"/>
              <a:gd name="T14" fmla="*/ 1309 w 2814"/>
              <a:gd name="T15" fmla="*/ 764 h 1010"/>
              <a:gd name="T16" fmla="*/ 1050 w 2814"/>
              <a:gd name="T17" fmla="*/ 504 h 1010"/>
              <a:gd name="T18" fmla="*/ 1309 w 2814"/>
              <a:gd name="T19" fmla="*/ 245 h 1010"/>
              <a:gd name="T20" fmla="*/ 1521 w 2814"/>
              <a:gd name="T21" fmla="*/ 355 h 1010"/>
              <a:gd name="T22" fmla="*/ 1679 w 2814"/>
              <a:gd name="T23" fmla="*/ 163 h 1010"/>
              <a:gd name="T24" fmla="*/ 1309 w 2814"/>
              <a:gd name="T25" fmla="*/ 0 h 1010"/>
              <a:gd name="T26" fmla="*/ 857 w 2814"/>
              <a:gd name="T27" fmla="*/ 282 h 1010"/>
              <a:gd name="T28" fmla="*/ 776 w 2814"/>
              <a:gd name="T29" fmla="*/ 126 h 1010"/>
              <a:gd name="T30" fmla="*/ 461 w 2814"/>
              <a:gd name="T31" fmla="*/ 20 h 1010"/>
              <a:gd name="T32" fmla="*/ 0 w 2814"/>
              <a:gd name="T33" fmla="*/ 20 h 1010"/>
              <a:gd name="T34" fmla="*/ 0 w 2814"/>
              <a:gd name="T35" fmla="*/ 990 h 1010"/>
              <a:gd name="T36" fmla="*/ 287 w 2814"/>
              <a:gd name="T37" fmla="*/ 990 h 1010"/>
              <a:gd name="T38" fmla="*/ 287 w 2814"/>
              <a:gd name="T39" fmla="*/ 678 h 1010"/>
              <a:gd name="T40" fmla="*/ 585 w 2814"/>
              <a:gd name="T41" fmla="*/ 990 h 1010"/>
              <a:gd name="T42" fmla="*/ 935 w 2814"/>
              <a:gd name="T43" fmla="*/ 990 h 1010"/>
              <a:gd name="T44" fmla="*/ 646 w 2814"/>
              <a:gd name="T45" fmla="*/ 688 h 1010"/>
              <a:gd name="T46" fmla="*/ 776 w 2814"/>
              <a:gd name="T47" fmla="*/ 612 h 1010"/>
              <a:gd name="T48" fmla="*/ 810 w 2814"/>
              <a:gd name="T49" fmla="*/ 572 h 1010"/>
              <a:gd name="T50" fmla="*/ 1309 w 2814"/>
              <a:gd name="T51" fmla="*/ 1010 h 1010"/>
              <a:gd name="T52" fmla="*/ 1583 w 2814"/>
              <a:gd name="T53" fmla="*/ 928 h 1010"/>
              <a:gd name="T54" fmla="*/ 1583 w 2814"/>
              <a:gd name="T55" fmla="*/ 990 h 1010"/>
              <a:gd name="T56" fmla="*/ 2021 w 2814"/>
              <a:gd name="T57" fmla="*/ 990 h 1010"/>
              <a:gd name="T58" fmla="*/ 2081 w 2814"/>
              <a:gd name="T59" fmla="*/ 848 h 1010"/>
              <a:gd name="T60" fmla="*/ 2443 w 2814"/>
              <a:gd name="T61" fmla="*/ 848 h 1010"/>
              <a:gd name="T62" fmla="*/ 2504 w 2814"/>
              <a:gd name="T63" fmla="*/ 990 h 1010"/>
              <a:gd name="T64" fmla="*/ 2814 w 2814"/>
              <a:gd name="T65" fmla="*/ 990 h 1010"/>
              <a:gd name="T66" fmla="*/ 2400 w 2814"/>
              <a:gd name="T67" fmla="*/ 18 h 1010"/>
              <a:gd name="T68" fmla="*/ 574 w 2814"/>
              <a:gd name="T69" fmla="*/ 365 h 1010"/>
              <a:gd name="T70" fmla="*/ 447 w 2814"/>
              <a:gd name="T71" fmla="*/ 463 h 1010"/>
              <a:gd name="T72" fmla="*/ 287 w 2814"/>
              <a:gd name="T73" fmla="*/ 463 h 1010"/>
              <a:gd name="T74" fmla="*/ 287 w 2814"/>
              <a:gd name="T75" fmla="*/ 264 h 1010"/>
              <a:gd name="T76" fmla="*/ 446 w 2814"/>
              <a:gd name="T77" fmla="*/ 264 h 1010"/>
              <a:gd name="T78" fmla="*/ 574 w 2814"/>
              <a:gd name="T79" fmla="*/ 362 h 1010"/>
              <a:gd name="T80" fmla="*/ 574 w 2814"/>
              <a:gd name="T81" fmla="*/ 365 h 1010"/>
              <a:gd name="T82" fmla="*/ 2166 w 2814"/>
              <a:gd name="T83" fmla="*/ 629 h 1010"/>
              <a:gd name="T84" fmla="*/ 2262 w 2814"/>
              <a:gd name="T85" fmla="*/ 386 h 1010"/>
              <a:gd name="T86" fmla="*/ 2361 w 2814"/>
              <a:gd name="T87" fmla="*/ 629 h 1010"/>
              <a:gd name="T88" fmla="*/ 2166 w 2814"/>
              <a:gd name="T89" fmla="*/ 629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14" h="1010">
                <a:moveTo>
                  <a:pt x="2400" y="18"/>
                </a:moveTo>
                <a:cubicBezTo>
                  <a:pt x="2124" y="18"/>
                  <a:pt x="2124" y="18"/>
                  <a:pt x="2124" y="18"/>
                </a:cubicBezTo>
                <a:cubicBezTo>
                  <a:pt x="1799" y="783"/>
                  <a:pt x="1799" y="783"/>
                  <a:pt x="1799" y="783"/>
                </a:cubicBezTo>
                <a:cubicBezTo>
                  <a:pt x="1799" y="414"/>
                  <a:pt x="1799" y="414"/>
                  <a:pt x="1799" y="414"/>
                </a:cubicBezTo>
                <a:cubicBezTo>
                  <a:pt x="1273" y="414"/>
                  <a:pt x="1273" y="414"/>
                  <a:pt x="1273" y="414"/>
                </a:cubicBezTo>
                <a:cubicBezTo>
                  <a:pt x="1273" y="630"/>
                  <a:pt x="1273" y="630"/>
                  <a:pt x="1273" y="630"/>
                </a:cubicBezTo>
                <a:cubicBezTo>
                  <a:pt x="1536" y="630"/>
                  <a:pt x="1536" y="630"/>
                  <a:pt x="1536" y="630"/>
                </a:cubicBezTo>
                <a:cubicBezTo>
                  <a:pt x="1492" y="710"/>
                  <a:pt x="1407" y="764"/>
                  <a:pt x="1309" y="764"/>
                </a:cubicBezTo>
                <a:cubicBezTo>
                  <a:pt x="1166" y="764"/>
                  <a:pt x="1050" y="648"/>
                  <a:pt x="1050" y="504"/>
                </a:cubicBezTo>
                <a:cubicBezTo>
                  <a:pt x="1050" y="361"/>
                  <a:pt x="1166" y="245"/>
                  <a:pt x="1309" y="245"/>
                </a:cubicBezTo>
                <a:cubicBezTo>
                  <a:pt x="1396" y="245"/>
                  <a:pt x="1474" y="289"/>
                  <a:pt x="1521" y="355"/>
                </a:cubicBezTo>
                <a:cubicBezTo>
                  <a:pt x="1679" y="163"/>
                  <a:pt x="1679" y="163"/>
                  <a:pt x="1679" y="163"/>
                </a:cubicBezTo>
                <a:cubicBezTo>
                  <a:pt x="1587" y="63"/>
                  <a:pt x="1455" y="0"/>
                  <a:pt x="1309" y="0"/>
                </a:cubicBezTo>
                <a:cubicBezTo>
                  <a:pt x="1110" y="0"/>
                  <a:pt x="939" y="115"/>
                  <a:pt x="857" y="282"/>
                </a:cubicBezTo>
                <a:cubicBezTo>
                  <a:pt x="845" y="220"/>
                  <a:pt x="818" y="168"/>
                  <a:pt x="776" y="126"/>
                </a:cubicBezTo>
                <a:cubicBezTo>
                  <a:pt x="707" y="56"/>
                  <a:pt x="601" y="21"/>
                  <a:pt x="461" y="20"/>
                </a:cubicBezTo>
                <a:cubicBezTo>
                  <a:pt x="0" y="20"/>
                  <a:pt x="0" y="20"/>
                  <a:pt x="0" y="20"/>
                </a:cubicBezTo>
                <a:cubicBezTo>
                  <a:pt x="0" y="990"/>
                  <a:pt x="0" y="990"/>
                  <a:pt x="0" y="990"/>
                </a:cubicBezTo>
                <a:cubicBezTo>
                  <a:pt x="287" y="990"/>
                  <a:pt x="287" y="990"/>
                  <a:pt x="287" y="990"/>
                </a:cubicBezTo>
                <a:cubicBezTo>
                  <a:pt x="287" y="678"/>
                  <a:pt x="287" y="678"/>
                  <a:pt x="287" y="678"/>
                </a:cubicBezTo>
                <a:cubicBezTo>
                  <a:pt x="585" y="990"/>
                  <a:pt x="585" y="990"/>
                  <a:pt x="585" y="990"/>
                </a:cubicBezTo>
                <a:cubicBezTo>
                  <a:pt x="935" y="990"/>
                  <a:pt x="935" y="990"/>
                  <a:pt x="935" y="990"/>
                </a:cubicBezTo>
                <a:cubicBezTo>
                  <a:pt x="646" y="688"/>
                  <a:pt x="646" y="688"/>
                  <a:pt x="646" y="688"/>
                </a:cubicBezTo>
                <a:cubicBezTo>
                  <a:pt x="695" y="670"/>
                  <a:pt x="743" y="645"/>
                  <a:pt x="776" y="612"/>
                </a:cubicBezTo>
                <a:cubicBezTo>
                  <a:pt x="788" y="599"/>
                  <a:pt x="800" y="586"/>
                  <a:pt x="810" y="572"/>
                </a:cubicBezTo>
                <a:cubicBezTo>
                  <a:pt x="842" y="819"/>
                  <a:pt x="1053" y="1010"/>
                  <a:pt x="1309" y="1010"/>
                </a:cubicBezTo>
                <a:cubicBezTo>
                  <a:pt x="1410" y="1010"/>
                  <a:pt x="1504" y="980"/>
                  <a:pt x="1583" y="928"/>
                </a:cubicBezTo>
                <a:cubicBezTo>
                  <a:pt x="1583" y="990"/>
                  <a:pt x="1583" y="990"/>
                  <a:pt x="1583" y="990"/>
                </a:cubicBezTo>
                <a:cubicBezTo>
                  <a:pt x="2021" y="990"/>
                  <a:pt x="2021" y="990"/>
                  <a:pt x="2021" y="990"/>
                </a:cubicBezTo>
                <a:cubicBezTo>
                  <a:pt x="2081" y="848"/>
                  <a:pt x="2081" y="848"/>
                  <a:pt x="2081" y="848"/>
                </a:cubicBezTo>
                <a:cubicBezTo>
                  <a:pt x="2443" y="848"/>
                  <a:pt x="2443" y="848"/>
                  <a:pt x="2443" y="848"/>
                </a:cubicBezTo>
                <a:cubicBezTo>
                  <a:pt x="2504" y="990"/>
                  <a:pt x="2504" y="990"/>
                  <a:pt x="2504" y="990"/>
                </a:cubicBezTo>
                <a:cubicBezTo>
                  <a:pt x="2814" y="990"/>
                  <a:pt x="2814" y="990"/>
                  <a:pt x="2814" y="990"/>
                </a:cubicBezTo>
                <a:lnTo>
                  <a:pt x="2400" y="18"/>
                </a:lnTo>
                <a:close/>
                <a:moveTo>
                  <a:pt x="574" y="365"/>
                </a:moveTo>
                <a:cubicBezTo>
                  <a:pt x="574" y="427"/>
                  <a:pt x="528" y="463"/>
                  <a:pt x="447" y="463"/>
                </a:cubicBezTo>
                <a:cubicBezTo>
                  <a:pt x="287" y="463"/>
                  <a:pt x="287" y="463"/>
                  <a:pt x="287" y="463"/>
                </a:cubicBezTo>
                <a:cubicBezTo>
                  <a:pt x="287" y="264"/>
                  <a:pt x="287" y="264"/>
                  <a:pt x="287" y="264"/>
                </a:cubicBezTo>
                <a:cubicBezTo>
                  <a:pt x="446" y="264"/>
                  <a:pt x="446" y="264"/>
                  <a:pt x="446" y="264"/>
                </a:cubicBezTo>
                <a:cubicBezTo>
                  <a:pt x="504" y="264"/>
                  <a:pt x="574" y="281"/>
                  <a:pt x="574" y="362"/>
                </a:cubicBezTo>
                <a:lnTo>
                  <a:pt x="574" y="365"/>
                </a:lnTo>
                <a:close/>
                <a:moveTo>
                  <a:pt x="2166" y="629"/>
                </a:moveTo>
                <a:cubicBezTo>
                  <a:pt x="2262" y="386"/>
                  <a:pt x="2262" y="386"/>
                  <a:pt x="2262" y="386"/>
                </a:cubicBezTo>
                <a:cubicBezTo>
                  <a:pt x="2361" y="629"/>
                  <a:pt x="2361" y="629"/>
                  <a:pt x="2361" y="629"/>
                </a:cubicBezTo>
                <a:lnTo>
                  <a:pt x="2166" y="6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 name="Title 1"/>
          <p:cNvSpPr>
            <a:spLocks noGrp="1"/>
          </p:cNvSpPr>
          <p:nvPr>
            <p:ph type="ctrTitle" hasCustomPrompt="1"/>
          </p:nvPr>
        </p:nvSpPr>
        <p:spPr bwMode="gray">
          <a:xfrm>
            <a:off x="5075708" y="2738628"/>
            <a:ext cx="6620991" cy="1380744"/>
          </a:xfrm>
        </p:spPr>
        <p:txBody>
          <a:bodyPr lIns="0" tIns="0" rIns="0" bIns="0" anchor="ctr"/>
          <a:lstStyle>
            <a:lvl1pPr algn="l">
              <a:defRPr sz="3200">
                <a:solidFill>
                  <a:schemeClr val="bg1"/>
                </a:solidFill>
              </a:defRPr>
            </a:lvl1pPr>
          </a:lstStyle>
          <a:p>
            <a:r>
              <a:rPr lang="en-US" dirty="0" smtClean="0"/>
              <a:t>Presentation Title Here</a:t>
            </a:r>
            <a:endParaRPr lang="en-US" dirty="0"/>
          </a:p>
        </p:txBody>
      </p:sp>
      <p:sp>
        <p:nvSpPr>
          <p:cNvPr id="3" name="Subtitle 2"/>
          <p:cNvSpPr>
            <a:spLocks noGrp="1"/>
          </p:cNvSpPr>
          <p:nvPr>
            <p:ph type="subTitle" idx="1" hasCustomPrompt="1"/>
          </p:nvPr>
        </p:nvSpPr>
        <p:spPr bwMode="gray">
          <a:xfrm>
            <a:off x="5081296" y="5139028"/>
            <a:ext cx="6613728" cy="309272"/>
          </a:xfrm>
        </p:spPr>
        <p:txBody>
          <a:bodyPr lIns="0" tIns="0" rIns="0" bIns="0"/>
          <a:lstStyle>
            <a:lvl1pPr marL="0" indent="0" algn="l">
              <a:spcBef>
                <a:spcPts val="600"/>
              </a:spcBef>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a:t>
            </a:r>
          </a:p>
        </p:txBody>
      </p:sp>
      <p:sp>
        <p:nvSpPr>
          <p:cNvPr id="19" name="Picture Placeholder 18"/>
          <p:cNvSpPr>
            <a:spLocks noGrp="1"/>
          </p:cNvSpPr>
          <p:nvPr>
            <p:ph type="pic" sz="quarter" idx="10" hasCustomPrompt="1"/>
          </p:nvPr>
        </p:nvSpPr>
        <p:spPr bwMode="gray">
          <a:xfrm>
            <a:off x="0" y="0"/>
            <a:ext cx="4453129" cy="6858000"/>
          </a:xfrm>
          <a:solidFill>
            <a:schemeClr val="bg2"/>
          </a:solidFill>
        </p:spPr>
        <p:txBody>
          <a:bodyPr anchor="ctr"/>
          <a:lstStyle>
            <a:lvl1pPr marL="0" indent="0" algn="ctr">
              <a:buNone/>
              <a:defRPr sz="1600" baseline="0"/>
            </a:lvl1pPr>
          </a:lstStyle>
          <a:p>
            <a:r>
              <a:rPr lang="en-US" dirty="0" smtClean="0"/>
              <a:t>Click icon to insert photo</a:t>
            </a:r>
          </a:p>
          <a:p>
            <a:endParaRPr lang="en-US" dirty="0" smtClean="0"/>
          </a:p>
          <a:p>
            <a:endParaRPr lang="en-US" dirty="0" smtClean="0"/>
          </a:p>
        </p:txBody>
      </p:sp>
      <p:grpSp>
        <p:nvGrpSpPr>
          <p:cNvPr id="20" name="Group 19"/>
          <p:cNvGrpSpPr/>
          <p:nvPr userDrawn="1"/>
        </p:nvGrpSpPr>
        <p:grpSpPr>
          <a:xfrm>
            <a:off x="-1847850" y="0"/>
            <a:ext cx="1752600" cy="3554819"/>
            <a:chOff x="-1847850" y="1598386"/>
            <a:chExt cx="1752600" cy="3554819"/>
          </a:xfrm>
        </p:grpSpPr>
        <p:sp>
          <p:nvSpPr>
            <p:cNvPr id="7" name="TextBox 6"/>
            <p:cNvSpPr txBox="1"/>
            <p:nvPr userDrawn="1"/>
          </p:nvSpPr>
          <p:spPr bwMode="gray">
            <a:xfrm>
              <a:off x="-1847850" y="1598386"/>
              <a:ext cx="1752600" cy="3554819"/>
            </a:xfrm>
            <a:prstGeom prst="rect">
              <a:avLst/>
            </a:prstGeom>
            <a:solidFill>
              <a:schemeClr val="tx2"/>
            </a:solidFill>
          </p:spPr>
          <p:txBody>
            <a:bodyPr wrap="square" rtlCol="0">
              <a:spAutoFit/>
            </a:bodyPr>
            <a:lstStyle/>
            <a:p>
              <a:r>
                <a:rPr lang="en-US" sz="1100" b="1" dirty="0" smtClean="0">
                  <a:solidFill>
                    <a:schemeClr val="bg1"/>
                  </a:solidFill>
                </a:rPr>
                <a:t>To change photo:</a:t>
              </a:r>
            </a:p>
            <a:p>
              <a:pPr marL="171450" indent="-171450">
                <a:spcBef>
                  <a:spcPts val="300"/>
                </a:spcBef>
                <a:buFont typeface="+mj-lt"/>
                <a:buAutoNum type="arabicPeriod"/>
              </a:pPr>
              <a:r>
                <a:rPr lang="en-US" sz="1100" dirty="0" smtClean="0">
                  <a:solidFill>
                    <a:schemeClr val="bg1"/>
                  </a:solidFill>
                </a:rPr>
                <a:t>Delet</a:t>
              </a:r>
              <a:r>
                <a:rPr lang="en-US" sz="1100" baseline="0" dirty="0" smtClean="0">
                  <a:solidFill>
                    <a:schemeClr val="bg1"/>
                  </a:solidFill>
                </a:rPr>
                <a:t>e the</a:t>
              </a:r>
              <a:r>
                <a:rPr lang="en-US" sz="1100" dirty="0" smtClean="0">
                  <a:solidFill>
                    <a:schemeClr val="bg1"/>
                  </a:solidFill>
                </a:rPr>
                <a:t> current image. This will leave</a:t>
              </a:r>
              <a:r>
                <a:rPr lang="en-US" sz="1100" baseline="0" dirty="0" smtClean="0">
                  <a:solidFill>
                    <a:schemeClr val="bg1"/>
                  </a:solidFill>
                </a:rPr>
                <a:t> a blank placeholder with a picture icon.</a:t>
              </a:r>
            </a:p>
            <a:p>
              <a:pPr marL="171450" indent="-171450">
                <a:spcBef>
                  <a:spcPts val="300"/>
                </a:spcBef>
                <a:buFont typeface="+mj-lt"/>
                <a:buAutoNum type="arabicPeriod"/>
              </a:pPr>
              <a:r>
                <a:rPr lang="en-US" sz="1100" dirty="0" smtClean="0">
                  <a:solidFill>
                    <a:schemeClr val="bg1"/>
                  </a:solidFill>
                </a:rPr>
                <a:t>Click the icon to add a new image. The photo will be automatically</a:t>
              </a:r>
              <a:r>
                <a:rPr lang="en-US" sz="1100" baseline="0" dirty="0" smtClean="0">
                  <a:solidFill>
                    <a:schemeClr val="bg1"/>
                  </a:solidFill>
                </a:rPr>
                <a:t> </a:t>
              </a:r>
              <a:r>
                <a:rPr lang="en-US" sz="1100" dirty="0" smtClean="0">
                  <a:solidFill>
                    <a:schemeClr val="bg1"/>
                  </a:solidFill>
                </a:rPr>
                <a:t>be cropped to fit the placeholder.</a:t>
              </a:r>
            </a:p>
            <a:p>
              <a:endParaRPr lang="en-US" sz="1100" dirty="0" smtClean="0">
                <a:solidFill>
                  <a:schemeClr val="bg1"/>
                </a:solidFill>
              </a:endParaRPr>
            </a:p>
            <a:p>
              <a:r>
                <a:rPr lang="en-US" sz="1100" b="1" dirty="0" smtClean="0">
                  <a:solidFill>
                    <a:schemeClr val="bg1"/>
                  </a:solidFill>
                </a:rPr>
                <a:t>NOTE: </a:t>
              </a:r>
              <a:r>
                <a:rPr lang="en-US" sz="1100" dirty="0" smtClean="0">
                  <a:solidFill>
                    <a:schemeClr val="bg1"/>
                  </a:solidFill>
                </a:rPr>
                <a:t>If you </a:t>
              </a:r>
              <a:r>
                <a:rPr lang="en-US" sz="1100" baseline="0" dirty="0" smtClean="0">
                  <a:solidFill>
                    <a:schemeClr val="bg1"/>
                  </a:solidFill>
                </a:rPr>
                <a:t>use the  “Change Picture” function,</a:t>
              </a:r>
              <a:br>
                <a:rPr lang="en-US" sz="1100" baseline="0" dirty="0" smtClean="0">
                  <a:solidFill>
                    <a:schemeClr val="bg1"/>
                  </a:solidFill>
                </a:rPr>
              </a:br>
              <a:r>
                <a:rPr lang="en-US" sz="1100" baseline="0" dirty="0" smtClean="0">
                  <a:solidFill>
                    <a:schemeClr val="bg1"/>
                  </a:solidFill>
                </a:rPr>
                <a:t>the image will be imported in its original proportions and won’t fill the placeholder completely and will need to be cropped. </a:t>
              </a:r>
              <a:endParaRPr lang="en-US" sz="1100" dirty="0" smtClean="0">
                <a:solidFill>
                  <a:schemeClr val="bg1"/>
                </a:solidFill>
              </a:endParaRPr>
            </a:p>
          </p:txBody>
        </p:sp>
        <p:pic>
          <p:nvPicPr>
            <p:cNvPr id="5" name="Picture 4"/>
            <p:cNvPicPr>
              <a:picLocks noChangeAspect="1"/>
            </p:cNvPicPr>
            <p:nvPr userDrawn="1"/>
          </p:nvPicPr>
          <p:blipFill rotWithShape="1">
            <a:blip r:embed="rId2"/>
            <a:srcRect t="9894" r="8548" b="9892"/>
            <a:stretch/>
          </p:blipFill>
          <p:spPr>
            <a:xfrm>
              <a:off x="-1182295" y="3914776"/>
              <a:ext cx="911406" cy="157260"/>
            </a:xfrm>
            <a:prstGeom prst="rect">
              <a:avLst/>
            </a:prstGeom>
          </p:spPr>
        </p:pic>
        <p:pic>
          <p:nvPicPr>
            <p:cNvPr id="8" name="Picture 7"/>
            <p:cNvPicPr>
              <a:picLocks noChangeAspect="1"/>
            </p:cNvPicPr>
            <p:nvPr userDrawn="1"/>
          </p:nvPicPr>
          <p:blipFill rotWithShape="1">
            <a:blip r:embed="rId3"/>
            <a:srcRect l="7228" t="8542" r="7228" b="8542"/>
            <a:stretch/>
          </p:blipFill>
          <p:spPr>
            <a:xfrm>
              <a:off x="-386486" y="2338388"/>
              <a:ext cx="207772" cy="176212"/>
            </a:xfrm>
            <a:prstGeom prst="rect">
              <a:avLst/>
            </a:prstGeom>
          </p:spPr>
        </p:pic>
      </p:grpSp>
      <p:sp>
        <p:nvSpPr>
          <p:cNvPr id="15" name="Text Placeholder 14"/>
          <p:cNvSpPr>
            <a:spLocks noGrp="1"/>
          </p:cNvSpPr>
          <p:nvPr>
            <p:ph type="body" sz="quarter" idx="11" hasCustomPrompt="1"/>
          </p:nvPr>
        </p:nvSpPr>
        <p:spPr>
          <a:xfrm>
            <a:off x="5075238" y="6321906"/>
            <a:ext cx="6619875" cy="292100"/>
          </a:xfrm>
        </p:spPr>
        <p:txBody>
          <a:bodyPr lIns="0" tIns="0" rIns="0" bIns="0"/>
          <a:lstStyle>
            <a:lvl1pPr marL="0" indent="0">
              <a:buNone/>
              <a:defRPr sz="1600">
                <a:solidFill>
                  <a:schemeClr val="bg1"/>
                </a:solidFill>
              </a:defRPr>
            </a:lvl1pPr>
            <a:lvl2pPr marL="338328" indent="0">
              <a:buNone/>
              <a:defRPr sz="1800"/>
            </a:lvl2pPr>
            <a:lvl3pPr marL="685800" indent="0">
              <a:buNone/>
              <a:defRPr sz="1600"/>
            </a:lvl3pPr>
            <a:lvl4pPr marL="1033272" indent="0">
              <a:buNone/>
              <a:defRPr sz="1400"/>
            </a:lvl4pPr>
            <a:lvl5pPr marL="1307592" indent="0">
              <a:buNone/>
              <a:defRPr sz="1200"/>
            </a:lvl5pPr>
          </a:lstStyle>
          <a:p>
            <a:pPr lvl="0"/>
            <a:r>
              <a:rPr lang="en-US" dirty="0" smtClean="0"/>
              <a:t>Date</a:t>
            </a:r>
            <a:endParaRPr lang="en-US" dirty="0"/>
          </a:p>
        </p:txBody>
      </p:sp>
      <p:sp>
        <p:nvSpPr>
          <p:cNvPr id="18" name="Text Placeholder 17"/>
          <p:cNvSpPr>
            <a:spLocks noGrp="1"/>
          </p:cNvSpPr>
          <p:nvPr>
            <p:ph type="body" sz="quarter" idx="12" hasCustomPrompt="1"/>
          </p:nvPr>
        </p:nvSpPr>
        <p:spPr>
          <a:xfrm>
            <a:off x="5075238" y="5524499"/>
            <a:ext cx="6619875" cy="600529"/>
          </a:xfrm>
        </p:spPr>
        <p:txBody>
          <a:bodyPr lIns="0" tIns="0" rIns="0" bIns="0"/>
          <a:lstStyle>
            <a:lvl1pPr marL="0" indent="0">
              <a:buNone/>
              <a:defRPr sz="1800" i="1">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US" dirty="0" smtClean="0"/>
              <a:t>Presenter’s Title</a:t>
            </a:r>
            <a:endParaRPr lang="en-US" dirty="0"/>
          </a:p>
        </p:txBody>
      </p:sp>
      <p:sp>
        <p:nvSpPr>
          <p:cNvPr id="21" name="Rectangle 20"/>
          <p:cNvSpPr/>
          <p:nvPr userDrawn="1"/>
        </p:nvSpPr>
        <p:spPr bwMode="gray">
          <a:xfrm>
            <a:off x="4453129" y="0"/>
            <a:ext cx="118872"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151434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a:p>
        </p:txBody>
      </p:sp>
      <p:sp>
        <p:nvSpPr>
          <p:cNvPr id="3"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4" name="Text Placeholder 9"/>
          <p:cNvSpPr>
            <a:spLocks noGrp="1"/>
          </p:cNvSpPr>
          <p:nvPr>
            <p:ph type="body" sz="quarter" idx="15" hasCustomPrompt="1"/>
          </p:nvPr>
        </p:nvSpPr>
        <p:spPr bwMode="gray">
          <a:xfrm>
            <a:off x="891704" y="1185767"/>
            <a:ext cx="10690696"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6" name="Picture Placeholder 5"/>
          <p:cNvSpPr>
            <a:spLocks noGrp="1"/>
          </p:cNvSpPr>
          <p:nvPr>
            <p:ph type="pic" sz="quarter" idx="17" hasCustomPrompt="1"/>
          </p:nvPr>
        </p:nvSpPr>
        <p:spPr bwMode="gray">
          <a:xfrm>
            <a:off x="1714500" y="1752600"/>
            <a:ext cx="9029700" cy="4178300"/>
          </a:xfrm>
          <a:solidFill>
            <a:schemeClr val="tx2">
              <a:lumMod val="20000"/>
              <a:lumOff val="80000"/>
            </a:schemeClr>
          </a:solidFill>
          <a:ln w="6350">
            <a:solidFill>
              <a:schemeClr val="tx1"/>
            </a:solidFill>
          </a:ln>
        </p:spPr>
        <p:txBody>
          <a:bodyPr anchor="ctr"/>
          <a:lstStyle>
            <a:lvl1pPr marL="0" indent="0" algn="ctr">
              <a:buNone/>
              <a:defRPr sz="1400">
                <a:solidFill>
                  <a:schemeClr val="tx1"/>
                </a:solidFill>
              </a:defRPr>
            </a:lvl1pPr>
          </a:lstStyle>
          <a:p>
            <a:r>
              <a:rPr lang="en-US" dirty="0" smtClean="0"/>
              <a:t>Click icon to insert photo</a:t>
            </a:r>
          </a:p>
          <a:p>
            <a:endParaRPr lang="en-US" dirty="0" smtClean="0"/>
          </a:p>
          <a:p>
            <a:endParaRPr lang="en-US" dirty="0" smtClean="0"/>
          </a:p>
        </p:txBody>
      </p:sp>
    </p:spTree>
    <p:extLst>
      <p:ext uri="{BB962C8B-B14F-4D97-AF65-F5344CB8AC3E}">
        <p14:creationId xmlns:p14="http://schemas.microsoft.com/office/powerpoint/2010/main" val="13717696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bleed Photo Slid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gray">
          <a:xfrm>
            <a:off x="0" y="0"/>
            <a:ext cx="12192000" cy="6858000"/>
          </a:xfrm>
          <a:solidFill>
            <a:schemeClr val="tx2">
              <a:lumMod val="20000"/>
              <a:lumOff val="80000"/>
            </a:schemeClr>
          </a:solidFill>
          <a:ln w="6350">
            <a:noFill/>
          </a:ln>
        </p:spPr>
        <p:txBody>
          <a:bodyPr anchor="ctr"/>
          <a:lstStyle>
            <a:lvl1pPr marL="0" indent="0" algn="ctr">
              <a:buNone/>
              <a:defRPr sz="1400">
                <a:solidFill>
                  <a:schemeClr val="tx1"/>
                </a:solidFill>
              </a:defRPr>
            </a:lvl1pPr>
          </a:lstStyle>
          <a:p>
            <a:r>
              <a:rPr lang="en-US" dirty="0" smtClean="0"/>
              <a:t>Click icon to insert photo</a:t>
            </a:r>
          </a:p>
          <a:p>
            <a:endParaRPr lang="en-US" dirty="0" smtClean="0"/>
          </a:p>
          <a:p>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90652829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3" name="Rectangle 2"/>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5"/>
          <p:cNvSpPr>
            <a:spLocks noEditPoints="1"/>
          </p:cNvSpPr>
          <p:nvPr userDrawn="1"/>
        </p:nvSpPr>
        <p:spPr bwMode="gray">
          <a:xfrm>
            <a:off x="3441700" y="2125583"/>
            <a:ext cx="5308600" cy="1909452"/>
          </a:xfrm>
          <a:custGeom>
            <a:avLst/>
            <a:gdLst>
              <a:gd name="T0" fmla="*/ 2400 w 2814"/>
              <a:gd name="T1" fmla="*/ 18 h 1010"/>
              <a:gd name="T2" fmla="*/ 2124 w 2814"/>
              <a:gd name="T3" fmla="*/ 18 h 1010"/>
              <a:gd name="T4" fmla="*/ 1799 w 2814"/>
              <a:gd name="T5" fmla="*/ 783 h 1010"/>
              <a:gd name="T6" fmla="*/ 1799 w 2814"/>
              <a:gd name="T7" fmla="*/ 414 h 1010"/>
              <a:gd name="T8" fmla="*/ 1273 w 2814"/>
              <a:gd name="T9" fmla="*/ 414 h 1010"/>
              <a:gd name="T10" fmla="*/ 1273 w 2814"/>
              <a:gd name="T11" fmla="*/ 630 h 1010"/>
              <a:gd name="T12" fmla="*/ 1536 w 2814"/>
              <a:gd name="T13" fmla="*/ 630 h 1010"/>
              <a:gd name="T14" fmla="*/ 1309 w 2814"/>
              <a:gd name="T15" fmla="*/ 764 h 1010"/>
              <a:gd name="T16" fmla="*/ 1050 w 2814"/>
              <a:gd name="T17" fmla="*/ 504 h 1010"/>
              <a:gd name="T18" fmla="*/ 1309 w 2814"/>
              <a:gd name="T19" fmla="*/ 245 h 1010"/>
              <a:gd name="T20" fmla="*/ 1521 w 2814"/>
              <a:gd name="T21" fmla="*/ 355 h 1010"/>
              <a:gd name="T22" fmla="*/ 1679 w 2814"/>
              <a:gd name="T23" fmla="*/ 163 h 1010"/>
              <a:gd name="T24" fmla="*/ 1309 w 2814"/>
              <a:gd name="T25" fmla="*/ 0 h 1010"/>
              <a:gd name="T26" fmla="*/ 857 w 2814"/>
              <a:gd name="T27" fmla="*/ 282 h 1010"/>
              <a:gd name="T28" fmla="*/ 776 w 2814"/>
              <a:gd name="T29" fmla="*/ 126 h 1010"/>
              <a:gd name="T30" fmla="*/ 461 w 2814"/>
              <a:gd name="T31" fmla="*/ 20 h 1010"/>
              <a:gd name="T32" fmla="*/ 0 w 2814"/>
              <a:gd name="T33" fmla="*/ 20 h 1010"/>
              <a:gd name="T34" fmla="*/ 0 w 2814"/>
              <a:gd name="T35" fmla="*/ 990 h 1010"/>
              <a:gd name="T36" fmla="*/ 287 w 2814"/>
              <a:gd name="T37" fmla="*/ 990 h 1010"/>
              <a:gd name="T38" fmla="*/ 287 w 2814"/>
              <a:gd name="T39" fmla="*/ 678 h 1010"/>
              <a:gd name="T40" fmla="*/ 585 w 2814"/>
              <a:gd name="T41" fmla="*/ 990 h 1010"/>
              <a:gd name="T42" fmla="*/ 935 w 2814"/>
              <a:gd name="T43" fmla="*/ 990 h 1010"/>
              <a:gd name="T44" fmla="*/ 646 w 2814"/>
              <a:gd name="T45" fmla="*/ 688 h 1010"/>
              <a:gd name="T46" fmla="*/ 776 w 2814"/>
              <a:gd name="T47" fmla="*/ 612 h 1010"/>
              <a:gd name="T48" fmla="*/ 810 w 2814"/>
              <a:gd name="T49" fmla="*/ 572 h 1010"/>
              <a:gd name="T50" fmla="*/ 1309 w 2814"/>
              <a:gd name="T51" fmla="*/ 1010 h 1010"/>
              <a:gd name="T52" fmla="*/ 1583 w 2814"/>
              <a:gd name="T53" fmla="*/ 928 h 1010"/>
              <a:gd name="T54" fmla="*/ 1583 w 2814"/>
              <a:gd name="T55" fmla="*/ 990 h 1010"/>
              <a:gd name="T56" fmla="*/ 2021 w 2814"/>
              <a:gd name="T57" fmla="*/ 990 h 1010"/>
              <a:gd name="T58" fmla="*/ 2081 w 2814"/>
              <a:gd name="T59" fmla="*/ 848 h 1010"/>
              <a:gd name="T60" fmla="*/ 2443 w 2814"/>
              <a:gd name="T61" fmla="*/ 848 h 1010"/>
              <a:gd name="T62" fmla="*/ 2504 w 2814"/>
              <a:gd name="T63" fmla="*/ 990 h 1010"/>
              <a:gd name="T64" fmla="*/ 2814 w 2814"/>
              <a:gd name="T65" fmla="*/ 990 h 1010"/>
              <a:gd name="T66" fmla="*/ 2400 w 2814"/>
              <a:gd name="T67" fmla="*/ 18 h 1010"/>
              <a:gd name="T68" fmla="*/ 574 w 2814"/>
              <a:gd name="T69" fmla="*/ 365 h 1010"/>
              <a:gd name="T70" fmla="*/ 447 w 2814"/>
              <a:gd name="T71" fmla="*/ 463 h 1010"/>
              <a:gd name="T72" fmla="*/ 287 w 2814"/>
              <a:gd name="T73" fmla="*/ 463 h 1010"/>
              <a:gd name="T74" fmla="*/ 287 w 2814"/>
              <a:gd name="T75" fmla="*/ 264 h 1010"/>
              <a:gd name="T76" fmla="*/ 446 w 2814"/>
              <a:gd name="T77" fmla="*/ 264 h 1010"/>
              <a:gd name="T78" fmla="*/ 574 w 2814"/>
              <a:gd name="T79" fmla="*/ 362 h 1010"/>
              <a:gd name="T80" fmla="*/ 574 w 2814"/>
              <a:gd name="T81" fmla="*/ 365 h 1010"/>
              <a:gd name="T82" fmla="*/ 2166 w 2814"/>
              <a:gd name="T83" fmla="*/ 629 h 1010"/>
              <a:gd name="T84" fmla="*/ 2262 w 2814"/>
              <a:gd name="T85" fmla="*/ 386 h 1010"/>
              <a:gd name="T86" fmla="*/ 2361 w 2814"/>
              <a:gd name="T87" fmla="*/ 629 h 1010"/>
              <a:gd name="T88" fmla="*/ 2166 w 2814"/>
              <a:gd name="T89" fmla="*/ 629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14" h="1010">
                <a:moveTo>
                  <a:pt x="2400" y="18"/>
                </a:moveTo>
                <a:cubicBezTo>
                  <a:pt x="2124" y="18"/>
                  <a:pt x="2124" y="18"/>
                  <a:pt x="2124" y="18"/>
                </a:cubicBezTo>
                <a:cubicBezTo>
                  <a:pt x="1799" y="783"/>
                  <a:pt x="1799" y="783"/>
                  <a:pt x="1799" y="783"/>
                </a:cubicBezTo>
                <a:cubicBezTo>
                  <a:pt x="1799" y="414"/>
                  <a:pt x="1799" y="414"/>
                  <a:pt x="1799" y="414"/>
                </a:cubicBezTo>
                <a:cubicBezTo>
                  <a:pt x="1273" y="414"/>
                  <a:pt x="1273" y="414"/>
                  <a:pt x="1273" y="414"/>
                </a:cubicBezTo>
                <a:cubicBezTo>
                  <a:pt x="1273" y="630"/>
                  <a:pt x="1273" y="630"/>
                  <a:pt x="1273" y="630"/>
                </a:cubicBezTo>
                <a:cubicBezTo>
                  <a:pt x="1536" y="630"/>
                  <a:pt x="1536" y="630"/>
                  <a:pt x="1536" y="630"/>
                </a:cubicBezTo>
                <a:cubicBezTo>
                  <a:pt x="1492" y="710"/>
                  <a:pt x="1407" y="764"/>
                  <a:pt x="1309" y="764"/>
                </a:cubicBezTo>
                <a:cubicBezTo>
                  <a:pt x="1166" y="764"/>
                  <a:pt x="1050" y="648"/>
                  <a:pt x="1050" y="504"/>
                </a:cubicBezTo>
                <a:cubicBezTo>
                  <a:pt x="1050" y="361"/>
                  <a:pt x="1166" y="245"/>
                  <a:pt x="1309" y="245"/>
                </a:cubicBezTo>
                <a:cubicBezTo>
                  <a:pt x="1396" y="245"/>
                  <a:pt x="1474" y="289"/>
                  <a:pt x="1521" y="355"/>
                </a:cubicBezTo>
                <a:cubicBezTo>
                  <a:pt x="1679" y="163"/>
                  <a:pt x="1679" y="163"/>
                  <a:pt x="1679" y="163"/>
                </a:cubicBezTo>
                <a:cubicBezTo>
                  <a:pt x="1587" y="63"/>
                  <a:pt x="1455" y="0"/>
                  <a:pt x="1309" y="0"/>
                </a:cubicBezTo>
                <a:cubicBezTo>
                  <a:pt x="1110" y="0"/>
                  <a:pt x="939" y="115"/>
                  <a:pt x="857" y="282"/>
                </a:cubicBezTo>
                <a:cubicBezTo>
                  <a:pt x="845" y="220"/>
                  <a:pt x="818" y="168"/>
                  <a:pt x="776" y="126"/>
                </a:cubicBezTo>
                <a:cubicBezTo>
                  <a:pt x="707" y="56"/>
                  <a:pt x="601" y="21"/>
                  <a:pt x="461" y="20"/>
                </a:cubicBezTo>
                <a:cubicBezTo>
                  <a:pt x="0" y="20"/>
                  <a:pt x="0" y="20"/>
                  <a:pt x="0" y="20"/>
                </a:cubicBezTo>
                <a:cubicBezTo>
                  <a:pt x="0" y="990"/>
                  <a:pt x="0" y="990"/>
                  <a:pt x="0" y="990"/>
                </a:cubicBezTo>
                <a:cubicBezTo>
                  <a:pt x="287" y="990"/>
                  <a:pt x="287" y="990"/>
                  <a:pt x="287" y="990"/>
                </a:cubicBezTo>
                <a:cubicBezTo>
                  <a:pt x="287" y="678"/>
                  <a:pt x="287" y="678"/>
                  <a:pt x="287" y="678"/>
                </a:cubicBezTo>
                <a:cubicBezTo>
                  <a:pt x="585" y="990"/>
                  <a:pt x="585" y="990"/>
                  <a:pt x="585" y="990"/>
                </a:cubicBezTo>
                <a:cubicBezTo>
                  <a:pt x="935" y="990"/>
                  <a:pt x="935" y="990"/>
                  <a:pt x="935" y="990"/>
                </a:cubicBezTo>
                <a:cubicBezTo>
                  <a:pt x="646" y="688"/>
                  <a:pt x="646" y="688"/>
                  <a:pt x="646" y="688"/>
                </a:cubicBezTo>
                <a:cubicBezTo>
                  <a:pt x="695" y="670"/>
                  <a:pt x="743" y="645"/>
                  <a:pt x="776" y="612"/>
                </a:cubicBezTo>
                <a:cubicBezTo>
                  <a:pt x="788" y="599"/>
                  <a:pt x="800" y="586"/>
                  <a:pt x="810" y="572"/>
                </a:cubicBezTo>
                <a:cubicBezTo>
                  <a:pt x="842" y="819"/>
                  <a:pt x="1053" y="1010"/>
                  <a:pt x="1309" y="1010"/>
                </a:cubicBezTo>
                <a:cubicBezTo>
                  <a:pt x="1410" y="1010"/>
                  <a:pt x="1504" y="980"/>
                  <a:pt x="1583" y="928"/>
                </a:cubicBezTo>
                <a:cubicBezTo>
                  <a:pt x="1583" y="990"/>
                  <a:pt x="1583" y="990"/>
                  <a:pt x="1583" y="990"/>
                </a:cubicBezTo>
                <a:cubicBezTo>
                  <a:pt x="2021" y="990"/>
                  <a:pt x="2021" y="990"/>
                  <a:pt x="2021" y="990"/>
                </a:cubicBezTo>
                <a:cubicBezTo>
                  <a:pt x="2081" y="848"/>
                  <a:pt x="2081" y="848"/>
                  <a:pt x="2081" y="848"/>
                </a:cubicBezTo>
                <a:cubicBezTo>
                  <a:pt x="2443" y="848"/>
                  <a:pt x="2443" y="848"/>
                  <a:pt x="2443" y="848"/>
                </a:cubicBezTo>
                <a:cubicBezTo>
                  <a:pt x="2504" y="990"/>
                  <a:pt x="2504" y="990"/>
                  <a:pt x="2504" y="990"/>
                </a:cubicBezTo>
                <a:cubicBezTo>
                  <a:pt x="2814" y="990"/>
                  <a:pt x="2814" y="990"/>
                  <a:pt x="2814" y="990"/>
                </a:cubicBezTo>
                <a:lnTo>
                  <a:pt x="2400" y="18"/>
                </a:lnTo>
                <a:close/>
                <a:moveTo>
                  <a:pt x="574" y="365"/>
                </a:moveTo>
                <a:cubicBezTo>
                  <a:pt x="574" y="427"/>
                  <a:pt x="528" y="463"/>
                  <a:pt x="447" y="463"/>
                </a:cubicBezTo>
                <a:cubicBezTo>
                  <a:pt x="287" y="463"/>
                  <a:pt x="287" y="463"/>
                  <a:pt x="287" y="463"/>
                </a:cubicBezTo>
                <a:cubicBezTo>
                  <a:pt x="287" y="264"/>
                  <a:pt x="287" y="264"/>
                  <a:pt x="287" y="264"/>
                </a:cubicBezTo>
                <a:cubicBezTo>
                  <a:pt x="446" y="264"/>
                  <a:pt x="446" y="264"/>
                  <a:pt x="446" y="264"/>
                </a:cubicBezTo>
                <a:cubicBezTo>
                  <a:pt x="504" y="264"/>
                  <a:pt x="574" y="281"/>
                  <a:pt x="574" y="362"/>
                </a:cubicBezTo>
                <a:lnTo>
                  <a:pt x="574" y="365"/>
                </a:lnTo>
                <a:close/>
                <a:moveTo>
                  <a:pt x="2166" y="629"/>
                </a:moveTo>
                <a:cubicBezTo>
                  <a:pt x="2262" y="386"/>
                  <a:pt x="2262" y="386"/>
                  <a:pt x="2262" y="386"/>
                </a:cubicBezTo>
                <a:cubicBezTo>
                  <a:pt x="2361" y="629"/>
                  <a:pt x="2361" y="629"/>
                  <a:pt x="2361" y="629"/>
                </a:cubicBezTo>
                <a:lnTo>
                  <a:pt x="2166" y="6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42215636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Slide 1" userDrawn="1">
  <p:cSld name="Title Slide 1">
    <p:spTree>
      <p:nvGrpSpPr>
        <p:cNvPr id="1" name=""/>
        <p:cNvGrpSpPr/>
        <p:nvPr/>
      </p:nvGrpSpPr>
      <p:grpSpPr>
        <a:xfrm>
          <a:off x="0" y="0"/>
          <a:ext cx="0" cy="0"/>
          <a:chOff x="0" y="0"/>
          <a:chExt cx="0" cy="0"/>
        </a:xfrm>
      </p:grpSpPr>
      <p:sp>
        <p:nvSpPr>
          <p:cNvPr id="10" name="Rectangle 9"/>
          <p:cNvSpPr>
            <a:spLocks/>
          </p:cNvSpPr>
          <p:nvPr userDrawn="1">
            <p:custDataLst>
              <p:tags r:id="rId1"/>
            </p:custDataLst>
          </p:nvPr>
        </p:nvSpPr>
        <p:spPr bwMode="gray">
          <a:xfrm>
            <a:off x="0" y="2971800"/>
            <a:ext cx="12192000" cy="206533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Arial" pitchFamily="34" charset="0"/>
              <a:cs typeface="Arial" pitchFamily="34" charset="0"/>
            </a:endParaRPr>
          </a:p>
        </p:txBody>
      </p:sp>
      <p:sp>
        <p:nvSpPr>
          <p:cNvPr id="3" name="Subtitle 2"/>
          <p:cNvSpPr>
            <a:spLocks noGrp="1"/>
          </p:cNvSpPr>
          <p:nvPr>
            <p:ph type="subTitle" idx="1"/>
          </p:nvPr>
        </p:nvSpPr>
        <p:spPr>
          <a:xfrm>
            <a:off x="719667" y="4004469"/>
            <a:ext cx="10752667" cy="936699"/>
          </a:xfrm>
        </p:spPr>
        <p:txBody>
          <a:bodyPr/>
          <a:lstStyle>
            <a:lvl1pPr marL="0" indent="0" algn="l">
              <a:buNone/>
              <a:defRPr sz="2400" b="1">
                <a:solidFill>
                  <a:srgbClr val="000000"/>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a:p>
        </p:txBody>
      </p:sp>
      <p:sp>
        <p:nvSpPr>
          <p:cNvPr id="7" name="Footer Placeholder 6"/>
          <p:cNvSpPr>
            <a:spLocks noGrp="1"/>
          </p:cNvSpPr>
          <p:nvPr>
            <p:ph type="ftr" sz="quarter" idx="10"/>
          </p:nvPr>
        </p:nvSpPr>
        <p:spPr>
          <a:xfrm>
            <a:off x="719667" y="6448252"/>
            <a:ext cx="9408781" cy="221109"/>
          </a:xfrm>
          <a:prstGeom prst="rect">
            <a:avLst/>
          </a:prstGeom>
        </p:spPr>
        <p:txBody>
          <a:bodyPr/>
          <a:lstStyle>
            <a:lvl1pPr>
              <a:defRPr>
                <a:latin typeface="Arial" pitchFamily="34" charset="0"/>
                <a:cs typeface="Arial" pitchFamily="34" charset="0"/>
              </a:defRPr>
            </a:lvl1pPr>
          </a:lstStyle>
          <a:p>
            <a:r>
              <a:rPr lang="en-US" noProof="0" smtClean="0"/>
              <a:t>February 27, 2013</a:t>
            </a:r>
            <a:endParaRPr lang="en-US" noProof="0"/>
          </a:p>
        </p:txBody>
      </p:sp>
      <p:sp>
        <p:nvSpPr>
          <p:cNvPr id="9" name="Title 8"/>
          <p:cNvSpPr>
            <a:spLocks noGrp="1"/>
          </p:cNvSpPr>
          <p:nvPr>
            <p:ph type="title"/>
          </p:nvPr>
        </p:nvSpPr>
        <p:spPr>
          <a:xfrm>
            <a:off x="719667" y="3068960"/>
            <a:ext cx="10752667" cy="864096"/>
          </a:xfrm>
        </p:spPr>
        <p:txBody>
          <a:bodyPr anchor="b" anchorCtr="0"/>
          <a:lstStyle>
            <a:lvl1pPr>
              <a:defRPr sz="3600" b="1">
                <a:solidFill>
                  <a:srgbClr val="E31B23"/>
                </a:solidFill>
                <a:latin typeface="Arial" pitchFamily="34" charset="0"/>
                <a:cs typeface="Arial" pitchFamily="34" charset="0"/>
              </a:defRPr>
            </a:lvl1pPr>
          </a:lstStyle>
          <a:p>
            <a:r>
              <a:rPr lang="en-US" noProof="0" smtClean="0"/>
              <a:t>Click to edit Master title style</a:t>
            </a:r>
            <a:endParaRPr lang="en-US" noProof="0"/>
          </a:p>
        </p:txBody>
      </p:sp>
      <p:sp>
        <p:nvSpPr>
          <p:cNvPr id="12" name="Picture Placeholder 11"/>
          <p:cNvSpPr>
            <a:spLocks noGrp="1"/>
          </p:cNvSpPr>
          <p:nvPr>
            <p:ph type="pic" sz="quarter" idx="11" hasCustomPrompt="1"/>
          </p:nvPr>
        </p:nvSpPr>
        <p:spPr>
          <a:xfrm>
            <a:off x="0" y="685800"/>
            <a:ext cx="12192000" cy="2286000"/>
          </a:xfrm>
        </p:spPr>
        <p:txBody>
          <a:bodyPr/>
          <a:lstStyle>
            <a:lvl1pPr marL="0" indent="0">
              <a:buFontTx/>
              <a:buNone/>
              <a:defRPr sz="1600" baseline="0">
                <a:latin typeface="Arial" pitchFamily="34" charset="0"/>
                <a:cs typeface="Arial" pitchFamily="34" charset="0"/>
              </a:defRPr>
            </a:lvl1pPr>
          </a:lstStyle>
          <a:p>
            <a:r>
              <a:rPr lang="en-US" noProof="0" smtClean="0"/>
              <a:t>Click icon to browse for a picture or use the RGA image gallery</a:t>
            </a:r>
            <a:endParaRPr lang="en-US" noProof="0"/>
          </a:p>
        </p:txBody>
      </p:sp>
      <p:sp>
        <p:nvSpPr>
          <p:cNvPr id="14" name="Text Placeholder 13"/>
          <p:cNvSpPr>
            <a:spLocks noGrp="1"/>
          </p:cNvSpPr>
          <p:nvPr>
            <p:ph type="body" sz="quarter" idx="12"/>
          </p:nvPr>
        </p:nvSpPr>
        <p:spPr>
          <a:xfrm>
            <a:off x="719667" y="5300663"/>
            <a:ext cx="5376333" cy="153888"/>
          </a:xfrm>
        </p:spPr>
        <p:txBody>
          <a:bodyPr>
            <a:noAutofit/>
          </a:bodyPr>
          <a:lstStyle>
            <a:lvl1pPr marL="0" indent="0">
              <a:buFontTx/>
              <a:buNone/>
              <a:defRPr sz="1000" b="1">
                <a:solidFill>
                  <a:srgbClr val="E31B23"/>
                </a:solidFill>
                <a:latin typeface="Arial" pitchFamily="34" charset="0"/>
                <a:cs typeface="Arial" pitchFamily="34" charset="0"/>
              </a:defRPr>
            </a:lvl1pPr>
            <a:lvl2pPr marL="268288" indent="0">
              <a:buFontTx/>
              <a:buNone/>
              <a:defRPr sz="1000"/>
            </a:lvl2pPr>
            <a:lvl3pPr marL="541338" indent="0" defTabSz="1074738">
              <a:buFontTx/>
              <a:buNone/>
              <a:defRPr sz="1000"/>
            </a:lvl3pPr>
            <a:lvl4pPr marL="804863" indent="0">
              <a:buFontTx/>
              <a:buNone/>
              <a:defRPr sz="1000"/>
            </a:lvl4pPr>
            <a:lvl5pPr marL="1074738" indent="0">
              <a:buFontTx/>
              <a:buNone/>
              <a:defRPr sz="1000"/>
            </a:lvl5pPr>
          </a:lstStyle>
          <a:p>
            <a:pPr lvl="0"/>
            <a:r>
              <a:rPr lang="en-US" noProof="0" smtClean="0"/>
              <a:t>Click to edit Master text styles</a:t>
            </a:r>
          </a:p>
        </p:txBody>
      </p:sp>
      <p:sp>
        <p:nvSpPr>
          <p:cNvPr id="15" name="Text Placeholder 13"/>
          <p:cNvSpPr>
            <a:spLocks noGrp="1"/>
          </p:cNvSpPr>
          <p:nvPr>
            <p:ph type="body" sz="quarter" idx="13"/>
          </p:nvPr>
        </p:nvSpPr>
        <p:spPr>
          <a:xfrm>
            <a:off x="719667" y="5454552"/>
            <a:ext cx="5376333" cy="638744"/>
          </a:xfrm>
        </p:spPr>
        <p:txBody>
          <a:bodyPr tIns="36000"/>
          <a:lstStyle>
            <a:lvl1pPr marL="0" indent="0">
              <a:buFontTx/>
              <a:buNone/>
              <a:defRPr sz="1000">
                <a:latin typeface="Arial" pitchFamily="34" charset="0"/>
                <a:cs typeface="Arial" pitchFamily="34" charset="0"/>
              </a:defRPr>
            </a:lvl1pPr>
            <a:lvl2pPr marL="268288" indent="0">
              <a:buFontTx/>
              <a:buNone/>
              <a:defRPr sz="1000"/>
            </a:lvl2pPr>
            <a:lvl3pPr marL="541338" indent="0" defTabSz="1074738">
              <a:buFontTx/>
              <a:buNone/>
              <a:defRPr sz="1000"/>
            </a:lvl3pPr>
            <a:lvl4pPr marL="804863" indent="0">
              <a:buFontTx/>
              <a:buNone/>
              <a:defRPr sz="1000"/>
            </a:lvl4pPr>
            <a:lvl5pPr marL="1074738" indent="0">
              <a:buFontTx/>
              <a:buNone/>
              <a:defRPr sz="1000"/>
            </a:lvl5pPr>
          </a:lstStyle>
          <a:p>
            <a:pPr lvl="0"/>
            <a:r>
              <a:rPr lang="en-US" noProof="0" smtClean="0"/>
              <a:t>Click to edit Master text styles</a:t>
            </a:r>
          </a:p>
        </p:txBody>
      </p:sp>
    </p:spTree>
    <p:extLst>
      <p:ext uri="{BB962C8B-B14F-4D97-AF65-F5344CB8AC3E}">
        <p14:creationId xmlns:p14="http://schemas.microsoft.com/office/powerpoint/2010/main" val="3227754080"/>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286094"/>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C78CF9A6-B0EC-44F9-B238-8C1B635FEC23}" type="datetimeFigureOut">
              <a:rPr lang="en-GB" smtClean="0"/>
              <a:t>27/09/2016</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3AB781C-DBDE-4C34-BBA1-E8DA03C32D1D}" type="slidenum">
              <a:rPr lang="en-GB" smtClean="0"/>
              <a:t>‹#›</a:t>
            </a:fld>
            <a:endParaRPr lang="en-GB"/>
          </a:p>
        </p:txBody>
      </p:sp>
    </p:spTree>
    <p:extLst>
      <p:ext uri="{BB962C8B-B14F-4D97-AF65-F5344CB8AC3E}">
        <p14:creationId xmlns:p14="http://schemas.microsoft.com/office/powerpoint/2010/main" val="24433806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1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5" name="Rectangle 14"/>
          <p:cNvSpPr/>
          <p:nvPr userDrawn="1"/>
        </p:nvSpPr>
        <p:spPr bwMode="invGray">
          <a:xfrm>
            <a:off x="0" y="0"/>
            <a:ext cx="12192000" cy="6858000"/>
          </a:xfrm>
          <a:prstGeom prst="rect">
            <a:avLst/>
          </a:prstGeom>
          <a:solidFill>
            <a:srgbClr val="E31B23"/>
          </a:solidFill>
          <a:ln w="25400" cap="flat" cmpd="sng" algn="ctr">
            <a:noFill/>
            <a:prstDash val="solid"/>
          </a:ln>
          <a:effectLst/>
        </p:spPr>
        <p:txBody>
          <a:bodyPr rtlCol="0" anchor="ctr"/>
          <a:lstStyle/>
          <a:p>
            <a:pPr algn="ctr">
              <a:defRPr/>
            </a:pPr>
            <a:endParaRPr lang="en-US" sz="1800" kern="0" dirty="0">
              <a:solidFill>
                <a:srgbClr val="FFFFFF"/>
              </a:solidFill>
            </a:endParaRPr>
          </a:p>
        </p:txBody>
      </p:sp>
      <p:sp>
        <p:nvSpPr>
          <p:cNvPr id="16" name="Rectangle 15"/>
          <p:cNvSpPr/>
          <p:nvPr userDrawn="1"/>
        </p:nvSpPr>
        <p:spPr bwMode="ltGray">
          <a:xfrm>
            <a:off x="4453128" y="0"/>
            <a:ext cx="118873" cy="6858000"/>
          </a:xfrm>
          <a:prstGeom prst="rect">
            <a:avLst/>
          </a:prstGeom>
          <a:solidFill>
            <a:srgbClr val="848383">
              <a:lumMod val="50000"/>
            </a:srgbClr>
          </a:solidFill>
          <a:ln w="25400" cap="flat" cmpd="sng" algn="ctr">
            <a:noFill/>
            <a:prstDash val="solid"/>
          </a:ln>
          <a:effectLst/>
        </p:spPr>
        <p:txBody>
          <a:bodyPr rtlCol="0" anchor="ctr"/>
          <a:lstStyle/>
          <a:p>
            <a:pPr algn="ctr">
              <a:defRPr/>
            </a:pPr>
            <a:endParaRPr lang="en-US" sz="1800" kern="0" dirty="0">
              <a:solidFill>
                <a:srgbClr val="FFFFFF"/>
              </a:solidFill>
            </a:endParaRPr>
          </a:p>
        </p:txBody>
      </p:sp>
      <p:grpSp>
        <p:nvGrpSpPr>
          <p:cNvPr id="8" name="McK Title Elements" hidden="1"/>
          <p:cNvGrpSpPr>
            <a:grpSpLocks/>
          </p:cNvGrpSpPr>
          <p:nvPr/>
        </p:nvGrpSpPr>
        <p:grpSpPr bwMode="auto">
          <a:xfrm>
            <a:off x="5084064" y="5201832"/>
            <a:ext cx="6826582" cy="484305"/>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bwMode="auto">
          <a:xfrm>
            <a:off x="5084064" y="2201864"/>
            <a:ext cx="6826582" cy="492443"/>
          </a:xfrm>
          <a:prstGeom prst="rect">
            <a:avLst/>
          </a:prstGeom>
        </p:spPr>
        <p:txBody>
          <a:bodyPr anchor="t"/>
          <a:lstStyle>
            <a:lvl1pPr>
              <a:defRPr sz="32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5084064" y="3809570"/>
            <a:ext cx="6826582" cy="276999"/>
          </a:xfrm>
        </p:spPr>
        <p:txBody>
          <a:bodyPr>
            <a:spAutoFit/>
          </a:bodyPr>
          <a:lstStyle>
            <a:lvl1pPr>
              <a:defRPr sz="1800" b="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21" name="Freeform 5"/>
          <p:cNvSpPr>
            <a:spLocks noEditPoints="1"/>
          </p:cNvSpPr>
          <p:nvPr userDrawn="1"/>
        </p:nvSpPr>
        <p:spPr bwMode="gray">
          <a:xfrm>
            <a:off x="5084064" y="694944"/>
            <a:ext cx="1612800" cy="471714"/>
          </a:xfrm>
          <a:custGeom>
            <a:avLst/>
            <a:gdLst>
              <a:gd name="T0" fmla="*/ 2400 w 2814"/>
              <a:gd name="T1" fmla="*/ 18 h 1010"/>
              <a:gd name="T2" fmla="*/ 2124 w 2814"/>
              <a:gd name="T3" fmla="*/ 18 h 1010"/>
              <a:gd name="T4" fmla="*/ 1799 w 2814"/>
              <a:gd name="T5" fmla="*/ 783 h 1010"/>
              <a:gd name="T6" fmla="*/ 1799 w 2814"/>
              <a:gd name="T7" fmla="*/ 414 h 1010"/>
              <a:gd name="T8" fmla="*/ 1273 w 2814"/>
              <a:gd name="T9" fmla="*/ 414 h 1010"/>
              <a:gd name="T10" fmla="*/ 1273 w 2814"/>
              <a:gd name="T11" fmla="*/ 630 h 1010"/>
              <a:gd name="T12" fmla="*/ 1536 w 2814"/>
              <a:gd name="T13" fmla="*/ 630 h 1010"/>
              <a:gd name="T14" fmla="*/ 1309 w 2814"/>
              <a:gd name="T15" fmla="*/ 764 h 1010"/>
              <a:gd name="T16" fmla="*/ 1050 w 2814"/>
              <a:gd name="T17" fmla="*/ 504 h 1010"/>
              <a:gd name="T18" fmla="*/ 1309 w 2814"/>
              <a:gd name="T19" fmla="*/ 245 h 1010"/>
              <a:gd name="T20" fmla="*/ 1521 w 2814"/>
              <a:gd name="T21" fmla="*/ 355 h 1010"/>
              <a:gd name="T22" fmla="*/ 1679 w 2814"/>
              <a:gd name="T23" fmla="*/ 163 h 1010"/>
              <a:gd name="T24" fmla="*/ 1309 w 2814"/>
              <a:gd name="T25" fmla="*/ 0 h 1010"/>
              <a:gd name="T26" fmla="*/ 857 w 2814"/>
              <a:gd name="T27" fmla="*/ 282 h 1010"/>
              <a:gd name="T28" fmla="*/ 776 w 2814"/>
              <a:gd name="T29" fmla="*/ 126 h 1010"/>
              <a:gd name="T30" fmla="*/ 461 w 2814"/>
              <a:gd name="T31" fmla="*/ 20 h 1010"/>
              <a:gd name="T32" fmla="*/ 0 w 2814"/>
              <a:gd name="T33" fmla="*/ 20 h 1010"/>
              <a:gd name="T34" fmla="*/ 0 w 2814"/>
              <a:gd name="T35" fmla="*/ 990 h 1010"/>
              <a:gd name="T36" fmla="*/ 287 w 2814"/>
              <a:gd name="T37" fmla="*/ 990 h 1010"/>
              <a:gd name="T38" fmla="*/ 287 w 2814"/>
              <a:gd name="T39" fmla="*/ 678 h 1010"/>
              <a:gd name="T40" fmla="*/ 585 w 2814"/>
              <a:gd name="T41" fmla="*/ 990 h 1010"/>
              <a:gd name="T42" fmla="*/ 935 w 2814"/>
              <a:gd name="T43" fmla="*/ 990 h 1010"/>
              <a:gd name="T44" fmla="*/ 646 w 2814"/>
              <a:gd name="T45" fmla="*/ 688 h 1010"/>
              <a:gd name="T46" fmla="*/ 776 w 2814"/>
              <a:gd name="T47" fmla="*/ 612 h 1010"/>
              <a:gd name="T48" fmla="*/ 810 w 2814"/>
              <a:gd name="T49" fmla="*/ 572 h 1010"/>
              <a:gd name="T50" fmla="*/ 1309 w 2814"/>
              <a:gd name="T51" fmla="*/ 1010 h 1010"/>
              <a:gd name="T52" fmla="*/ 1583 w 2814"/>
              <a:gd name="T53" fmla="*/ 928 h 1010"/>
              <a:gd name="T54" fmla="*/ 1583 w 2814"/>
              <a:gd name="T55" fmla="*/ 990 h 1010"/>
              <a:gd name="T56" fmla="*/ 2021 w 2814"/>
              <a:gd name="T57" fmla="*/ 990 h 1010"/>
              <a:gd name="T58" fmla="*/ 2081 w 2814"/>
              <a:gd name="T59" fmla="*/ 848 h 1010"/>
              <a:gd name="T60" fmla="*/ 2443 w 2814"/>
              <a:gd name="T61" fmla="*/ 848 h 1010"/>
              <a:gd name="T62" fmla="*/ 2504 w 2814"/>
              <a:gd name="T63" fmla="*/ 990 h 1010"/>
              <a:gd name="T64" fmla="*/ 2814 w 2814"/>
              <a:gd name="T65" fmla="*/ 990 h 1010"/>
              <a:gd name="T66" fmla="*/ 2400 w 2814"/>
              <a:gd name="T67" fmla="*/ 18 h 1010"/>
              <a:gd name="T68" fmla="*/ 574 w 2814"/>
              <a:gd name="T69" fmla="*/ 365 h 1010"/>
              <a:gd name="T70" fmla="*/ 447 w 2814"/>
              <a:gd name="T71" fmla="*/ 463 h 1010"/>
              <a:gd name="T72" fmla="*/ 287 w 2814"/>
              <a:gd name="T73" fmla="*/ 463 h 1010"/>
              <a:gd name="T74" fmla="*/ 287 w 2814"/>
              <a:gd name="T75" fmla="*/ 264 h 1010"/>
              <a:gd name="T76" fmla="*/ 446 w 2814"/>
              <a:gd name="T77" fmla="*/ 264 h 1010"/>
              <a:gd name="T78" fmla="*/ 574 w 2814"/>
              <a:gd name="T79" fmla="*/ 362 h 1010"/>
              <a:gd name="T80" fmla="*/ 574 w 2814"/>
              <a:gd name="T81" fmla="*/ 365 h 1010"/>
              <a:gd name="T82" fmla="*/ 2166 w 2814"/>
              <a:gd name="T83" fmla="*/ 629 h 1010"/>
              <a:gd name="T84" fmla="*/ 2262 w 2814"/>
              <a:gd name="T85" fmla="*/ 386 h 1010"/>
              <a:gd name="T86" fmla="*/ 2361 w 2814"/>
              <a:gd name="T87" fmla="*/ 629 h 1010"/>
              <a:gd name="T88" fmla="*/ 2166 w 2814"/>
              <a:gd name="T89" fmla="*/ 629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14" h="1010">
                <a:moveTo>
                  <a:pt x="2400" y="18"/>
                </a:moveTo>
                <a:cubicBezTo>
                  <a:pt x="2124" y="18"/>
                  <a:pt x="2124" y="18"/>
                  <a:pt x="2124" y="18"/>
                </a:cubicBezTo>
                <a:cubicBezTo>
                  <a:pt x="1799" y="783"/>
                  <a:pt x="1799" y="783"/>
                  <a:pt x="1799" y="783"/>
                </a:cubicBezTo>
                <a:cubicBezTo>
                  <a:pt x="1799" y="414"/>
                  <a:pt x="1799" y="414"/>
                  <a:pt x="1799" y="414"/>
                </a:cubicBezTo>
                <a:cubicBezTo>
                  <a:pt x="1273" y="414"/>
                  <a:pt x="1273" y="414"/>
                  <a:pt x="1273" y="414"/>
                </a:cubicBezTo>
                <a:cubicBezTo>
                  <a:pt x="1273" y="630"/>
                  <a:pt x="1273" y="630"/>
                  <a:pt x="1273" y="630"/>
                </a:cubicBezTo>
                <a:cubicBezTo>
                  <a:pt x="1536" y="630"/>
                  <a:pt x="1536" y="630"/>
                  <a:pt x="1536" y="630"/>
                </a:cubicBezTo>
                <a:cubicBezTo>
                  <a:pt x="1492" y="710"/>
                  <a:pt x="1407" y="764"/>
                  <a:pt x="1309" y="764"/>
                </a:cubicBezTo>
                <a:cubicBezTo>
                  <a:pt x="1166" y="764"/>
                  <a:pt x="1050" y="648"/>
                  <a:pt x="1050" y="504"/>
                </a:cubicBezTo>
                <a:cubicBezTo>
                  <a:pt x="1050" y="361"/>
                  <a:pt x="1166" y="245"/>
                  <a:pt x="1309" y="245"/>
                </a:cubicBezTo>
                <a:cubicBezTo>
                  <a:pt x="1396" y="245"/>
                  <a:pt x="1474" y="289"/>
                  <a:pt x="1521" y="355"/>
                </a:cubicBezTo>
                <a:cubicBezTo>
                  <a:pt x="1679" y="163"/>
                  <a:pt x="1679" y="163"/>
                  <a:pt x="1679" y="163"/>
                </a:cubicBezTo>
                <a:cubicBezTo>
                  <a:pt x="1587" y="63"/>
                  <a:pt x="1455" y="0"/>
                  <a:pt x="1309" y="0"/>
                </a:cubicBezTo>
                <a:cubicBezTo>
                  <a:pt x="1110" y="0"/>
                  <a:pt x="939" y="115"/>
                  <a:pt x="857" y="282"/>
                </a:cubicBezTo>
                <a:cubicBezTo>
                  <a:pt x="845" y="220"/>
                  <a:pt x="818" y="168"/>
                  <a:pt x="776" y="126"/>
                </a:cubicBezTo>
                <a:cubicBezTo>
                  <a:pt x="707" y="56"/>
                  <a:pt x="601" y="21"/>
                  <a:pt x="461" y="20"/>
                </a:cubicBezTo>
                <a:cubicBezTo>
                  <a:pt x="0" y="20"/>
                  <a:pt x="0" y="20"/>
                  <a:pt x="0" y="20"/>
                </a:cubicBezTo>
                <a:cubicBezTo>
                  <a:pt x="0" y="990"/>
                  <a:pt x="0" y="990"/>
                  <a:pt x="0" y="990"/>
                </a:cubicBezTo>
                <a:cubicBezTo>
                  <a:pt x="287" y="990"/>
                  <a:pt x="287" y="990"/>
                  <a:pt x="287" y="990"/>
                </a:cubicBezTo>
                <a:cubicBezTo>
                  <a:pt x="287" y="678"/>
                  <a:pt x="287" y="678"/>
                  <a:pt x="287" y="678"/>
                </a:cubicBezTo>
                <a:cubicBezTo>
                  <a:pt x="585" y="990"/>
                  <a:pt x="585" y="990"/>
                  <a:pt x="585" y="990"/>
                </a:cubicBezTo>
                <a:cubicBezTo>
                  <a:pt x="935" y="990"/>
                  <a:pt x="935" y="990"/>
                  <a:pt x="935" y="990"/>
                </a:cubicBezTo>
                <a:cubicBezTo>
                  <a:pt x="646" y="688"/>
                  <a:pt x="646" y="688"/>
                  <a:pt x="646" y="688"/>
                </a:cubicBezTo>
                <a:cubicBezTo>
                  <a:pt x="695" y="670"/>
                  <a:pt x="743" y="645"/>
                  <a:pt x="776" y="612"/>
                </a:cubicBezTo>
                <a:cubicBezTo>
                  <a:pt x="788" y="599"/>
                  <a:pt x="800" y="586"/>
                  <a:pt x="810" y="572"/>
                </a:cubicBezTo>
                <a:cubicBezTo>
                  <a:pt x="842" y="819"/>
                  <a:pt x="1053" y="1010"/>
                  <a:pt x="1309" y="1010"/>
                </a:cubicBezTo>
                <a:cubicBezTo>
                  <a:pt x="1410" y="1010"/>
                  <a:pt x="1504" y="980"/>
                  <a:pt x="1583" y="928"/>
                </a:cubicBezTo>
                <a:cubicBezTo>
                  <a:pt x="1583" y="990"/>
                  <a:pt x="1583" y="990"/>
                  <a:pt x="1583" y="990"/>
                </a:cubicBezTo>
                <a:cubicBezTo>
                  <a:pt x="2021" y="990"/>
                  <a:pt x="2021" y="990"/>
                  <a:pt x="2021" y="990"/>
                </a:cubicBezTo>
                <a:cubicBezTo>
                  <a:pt x="2081" y="848"/>
                  <a:pt x="2081" y="848"/>
                  <a:pt x="2081" y="848"/>
                </a:cubicBezTo>
                <a:cubicBezTo>
                  <a:pt x="2443" y="848"/>
                  <a:pt x="2443" y="848"/>
                  <a:pt x="2443" y="848"/>
                </a:cubicBezTo>
                <a:cubicBezTo>
                  <a:pt x="2504" y="990"/>
                  <a:pt x="2504" y="990"/>
                  <a:pt x="2504" y="990"/>
                </a:cubicBezTo>
                <a:cubicBezTo>
                  <a:pt x="2814" y="990"/>
                  <a:pt x="2814" y="990"/>
                  <a:pt x="2814" y="990"/>
                </a:cubicBezTo>
                <a:lnTo>
                  <a:pt x="2400" y="18"/>
                </a:lnTo>
                <a:close/>
                <a:moveTo>
                  <a:pt x="574" y="365"/>
                </a:moveTo>
                <a:cubicBezTo>
                  <a:pt x="574" y="427"/>
                  <a:pt x="528" y="463"/>
                  <a:pt x="447" y="463"/>
                </a:cubicBezTo>
                <a:cubicBezTo>
                  <a:pt x="287" y="463"/>
                  <a:pt x="287" y="463"/>
                  <a:pt x="287" y="463"/>
                </a:cubicBezTo>
                <a:cubicBezTo>
                  <a:pt x="287" y="264"/>
                  <a:pt x="287" y="264"/>
                  <a:pt x="287" y="264"/>
                </a:cubicBezTo>
                <a:cubicBezTo>
                  <a:pt x="446" y="264"/>
                  <a:pt x="446" y="264"/>
                  <a:pt x="446" y="264"/>
                </a:cubicBezTo>
                <a:cubicBezTo>
                  <a:pt x="504" y="264"/>
                  <a:pt x="574" y="281"/>
                  <a:pt x="574" y="362"/>
                </a:cubicBezTo>
                <a:lnTo>
                  <a:pt x="574" y="365"/>
                </a:lnTo>
                <a:close/>
                <a:moveTo>
                  <a:pt x="2166" y="629"/>
                </a:moveTo>
                <a:cubicBezTo>
                  <a:pt x="2262" y="386"/>
                  <a:pt x="2262" y="386"/>
                  <a:pt x="2262" y="386"/>
                </a:cubicBezTo>
                <a:cubicBezTo>
                  <a:pt x="2361" y="629"/>
                  <a:pt x="2361" y="629"/>
                  <a:pt x="2361" y="629"/>
                </a:cubicBezTo>
                <a:lnTo>
                  <a:pt x="2166" y="6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700" dirty="0">
              <a:solidFill>
                <a:srgbClr val="FFFFFF"/>
              </a:solidFill>
            </a:endParaRPr>
          </a:p>
        </p:txBody>
      </p:sp>
      <p:pic>
        <p:nvPicPr>
          <p:cNvPr id="17566" name="Picture 15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ltGray">
          <a:xfrm>
            <a:off x="0" y="-297"/>
            <a:ext cx="4454769"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577392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a:xfrm>
            <a:off x="402828" y="259324"/>
            <a:ext cx="11195831" cy="307777"/>
          </a:xfrm>
        </p:spPr>
        <p:txBody>
          <a:bodyPr/>
          <a:lstStyle/>
          <a:p>
            <a:r>
              <a:rPr lang="en-US" smtClean="0"/>
              <a:t>Click to edit Master title style</a:t>
            </a:r>
            <a:endParaRPr lang="en-US"/>
          </a:p>
        </p:txBody>
      </p:sp>
      <p:pic>
        <p:nvPicPr>
          <p:cNvPr id="3" name="Picture 2"/>
          <p:cNvPicPr>
            <a:picLocks noChangeAspect="1"/>
          </p:cNvPicPr>
          <p:nvPr userDrawn="1"/>
        </p:nvPicPr>
        <p:blipFill>
          <a:blip r:embed="rId2">
            <a:clrChange>
              <a:clrFrom>
                <a:srgbClr val="FFFFFF"/>
              </a:clrFrom>
              <a:clrTo>
                <a:srgbClr val="FFFFFF">
                  <a:alpha val="0"/>
                </a:srgbClr>
              </a:clrTo>
            </a:clrChange>
          </a:blip>
          <a:stretch>
            <a:fillRect/>
          </a:stretch>
        </p:blipFill>
        <p:spPr>
          <a:xfrm>
            <a:off x="10368687" y="6390315"/>
            <a:ext cx="1164826" cy="441237"/>
          </a:xfrm>
          <a:prstGeom prst="rect">
            <a:avLst/>
          </a:prstGeom>
        </p:spPr>
      </p:pic>
    </p:spTree>
    <p:extLst>
      <p:ext uri="{BB962C8B-B14F-4D97-AF65-F5344CB8AC3E}">
        <p14:creationId xmlns:p14="http://schemas.microsoft.com/office/powerpoint/2010/main" val="8353067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Tree>
    <p:extLst>
      <p:ext uri="{BB962C8B-B14F-4D97-AF65-F5344CB8AC3E}">
        <p14:creationId xmlns:p14="http://schemas.microsoft.com/office/powerpoint/2010/main" val="38315269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Tree>
    <p:extLst>
      <p:ext uri="{BB962C8B-B14F-4D97-AF65-F5344CB8AC3E}">
        <p14:creationId xmlns:p14="http://schemas.microsoft.com/office/powerpoint/2010/main" val="1645299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23" name="Picture Placeholder 18"/>
          <p:cNvSpPr>
            <a:spLocks noGrp="1"/>
          </p:cNvSpPr>
          <p:nvPr>
            <p:ph type="pic" sz="quarter" idx="10" hasCustomPrompt="1"/>
          </p:nvPr>
        </p:nvSpPr>
        <p:spPr bwMode="gray">
          <a:xfrm>
            <a:off x="0" y="0"/>
            <a:ext cx="4453129" cy="6858000"/>
          </a:xfrm>
          <a:solidFill>
            <a:schemeClr val="tx2">
              <a:lumMod val="40000"/>
              <a:lumOff val="60000"/>
            </a:schemeClr>
          </a:solidFill>
        </p:spPr>
        <p:txBody>
          <a:bodyPr anchor="ctr"/>
          <a:lstStyle>
            <a:lvl1pPr marL="0" indent="0" algn="ctr">
              <a:buNone/>
              <a:defRPr sz="1600" baseline="0"/>
            </a:lvl1pPr>
          </a:lstStyle>
          <a:p>
            <a:r>
              <a:rPr lang="en-US" dirty="0" smtClean="0"/>
              <a:t>Click icon to insert photo</a:t>
            </a:r>
          </a:p>
          <a:p>
            <a:endParaRPr lang="en-US" dirty="0" smtClean="0"/>
          </a:p>
          <a:p>
            <a:endParaRPr lang="en-US" dirty="0" smtClean="0"/>
          </a:p>
        </p:txBody>
      </p:sp>
      <p:sp>
        <p:nvSpPr>
          <p:cNvPr id="4" name="Freeform 5" hidden="1"/>
          <p:cNvSpPr>
            <a:spLocks noEditPoints="1"/>
          </p:cNvSpPr>
          <p:nvPr userDrawn="1"/>
        </p:nvSpPr>
        <p:spPr bwMode="auto">
          <a:xfrm>
            <a:off x="5081295" y="694872"/>
            <a:ext cx="1311443" cy="471714"/>
          </a:xfrm>
          <a:custGeom>
            <a:avLst/>
            <a:gdLst>
              <a:gd name="T0" fmla="*/ 2400 w 2814"/>
              <a:gd name="T1" fmla="*/ 18 h 1010"/>
              <a:gd name="T2" fmla="*/ 2124 w 2814"/>
              <a:gd name="T3" fmla="*/ 18 h 1010"/>
              <a:gd name="T4" fmla="*/ 1799 w 2814"/>
              <a:gd name="T5" fmla="*/ 783 h 1010"/>
              <a:gd name="T6" fmla="*/ 1799 w 2814"/>
              <a:gd name="T7" fmla="*/ 414 h 1010"/>
              <a:gd name="T8" fmla="*/ 1273 w 2814"/>
              <a:gd name="T9" fmla="*/ 414 h 1010"/>
              <a:gd name="T10" fmla="*/ 1273 w 2814"/>
              <a:gd name="T11" fmla="*/ 630 h 1010"/>
              <a:gd name="T12" fmla="*/ 1536 w 2814"/>
              <a:gd name="T13" fmla="*/ 630 h 1010"/>
              <a:gd name="T14" fmla="*/ 1309 w 2814"/>
              <a:gd name="T15" fmla="*/ 764 h 1010"/>
              <a:gd name="T16" fmla="*/ 1050 w 2814"/>
              <a:gd name="T17" fmla="*/ 504 h 1010"/>
              <a:gd name="T18" fmla="*/ 1309 w 2814"/>
              <a:gd name="T19" fmla="*/ 245 h 1010"/>
              <a:gd name="T20" fmla="*/ 1521 w 2814"/>
              <a:gd name="T21" fmla="*/ 355 h 1010"/>
              <a:gd name="T22" fmla="*/ 1679 w 2814"/>
              <a:gd name="T23" fmla="*/ 163 h 1010"/>
              <a:gd name="T24" fmla="*/ 1309 w 2814"/>
              <a:gd name="T25" fmla="*/ 0 h 1010"/>
              <a:gd name="T26" fmla="*/ 857 w 2814"/>
              <a:gd name="T27" fmla="*/ 282 h 1010"/>
              <a:gd name="T28" fmla="*/ 776 w 2814"/>
              <a:gd name="T29" fmla="*/ 126 h 1010"/>
              <a:gd name="T30" fmla="*/ 461 w 2814"/>
              <a:gd name="T31" fmla="*/ 20 h 1010"/>
              <a:gd name="T32" fmla="*/ 0 w 2814"/>
              <a:gd name="T33" fmla="*/ 20 h 1010"/>
              <a:gd name="T34" fmla="*/ 0 w 2814"/>
              <a:gd name="T35" fmla="*/ 990 h 1010"/>
              <a:gd name="T36" fmla="*/ 287 w 2814"/>
              <a:gd name="T37" fmla="*/ 990 h 1010"/>
              <a:gd name="T38" fmla="*/ 287 w 2814"/>
              <a:gd name="T39" fmla="*/ 678 h 1010"/>
              <a:gd name="T40" fmla="*/ 585 w 2814"/>
              <a:gd name="T41" fmla="*/ 990 h 1010"/>
              <a:gd name="T42" fmla="*/ 935 w 2814"/>
              <a:gd name="T43" fmla="*/ 990 h 1010"/>
              <a:gd name="T44" fmla="*/ 646 w 2814"/>
              <a:gd name="T45" fmla="*/ 688 h 1010"/>
              <a:gd name="T46" fmla="*/ 776 w 2814"/>
              <a:gd name="T47" fmla="*/ 612 h 1010"/>
              <a:gd name="T48" fmla="*/ 810 w 2814"/>
              <a:gd name="T49" fmla="*/ 572 h 1010"/>
              <a:gd name="T50" fmla="*/ 1309 w 2814"/>
              <a:gd name="T51" fmla="*/ 1010 h 1010"/>
              <a:gd name="T52" fmla="*/ 1583 w 2814"/>
              <a:gd name="T53" fmla="*/ 928 h 1010"/>
              <a:gd name="T54" fmla="*/ 1583 w 2814"/>
              <a:gd name="T55" fmla="*/ 990 h 1010"/>
              <a:gd name="T56" fmla="*/ 2021 w 2814"/>
              <a:gd name="T57" fmla="*/ 990 h 1010"/>
              <a:gd name="T58" fmla="*/ 2081 w 2814"/>
              <a:gd name="T59" fmla="*/ 848 h 1010"/>
              <a:gd name="T60" fmla="*/ 2443 w 2814"/>
              <a:gd name="T61" fmla="*/ 848 h 1010"/>
              <a:gd name="T62" fmla="*/ 2504 w 2814"/>
              <a:gd name="T63" fmla="*/ 990 h 1010"/>
              <a:gd name="T64" fmla="*/ 2814 w 2814"/>
              <a:gd name="T65" fmla="*/ 990 h 1010"/>
              <a:gd name="T66" fmla="*/ 2400 w 2814"/>
              <a:gd name="T67" fmla="*/ 18 h 1010"/>
              <a:gd name="T68" fmla="*/ 574 w 2814"/>
              <a:gd name="T69" fmla="*/ 365 h 1010"/>
              <a:gd name="T70" fmla="*/ 447 w 2814"/>
              <a:gd name="T71" fmla="*/ 463 h 1010"/>
              <a:gd name="T72" fmla="*/ 287 w 2814"/>
              <a:gd name="T73" fmla="*/ 463 h 1010"/>
              <a:gd name="T74" fmla="*/ 287 w 2814"/>
              <a:gd name="T75" fmla="*/ 264 h 1010"/>
              <a:gd name="T76" fmla="*/ 446 w 2814"/>
              <a:gd name="T77" fmla="*/ 264 h 1010"/>
              <a:gd name="T78" fmla="*/ 574 w 2814"/>
              <a:gd name="T79" fmla="*/ 362 h 1010"/>
              <a:gd name="T80" fmla="*/ 574 w 2814"/>
              <a:gd name="T81" fmla="*/ 365 h 1010"/>
              <a:gd name="T82" fmla="*/ 2166 w 2814"/>
              <a:gd name="T83" fmla="*/ 629 h 1010"/>
              <a:gd name="T84" fmla="*/ 2262 w 2814"/>
              <a:gd name="T85" fmla="*/ 386 h 1010"/>
              <a:gd name="T86" fmla="*/ 2361 w 2814"/>
              <a:gd name="T87" fmla="*/ 629 h 1010"/>
              <a:gd name="T88" fmla="*/ 2166 w 2814"/>
              <a:gd name="T89" fmla="*/ 629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14" h="1010">
                <a:moveTo>
                  <a:pt x="2400" y="18"/>
                </a:moveTo>
                <a:cubicBezTo>
                  <a:pt x="2124" y="18"/>
                  <a:pt x="2124" y="18"/>
                  <a:pt x="2124" y="18"/>
                </a:cubicBezTo>
                <a:cubicBezTo>
                  <a:pt x="1799" y="783"/>
                  <a:pt x="1799" y="783"/>
                  <a:pt x="1799" y="783"/>
                </a:cubicBezTo>
                <a:cubicBezTo>
                  <a:pt x="1799" y="414"/>
                  <a:pt x="1799" y="414"/>
                  <a:pt x="1799" y="414"/>
                </a:cubicBezTo>
                <a:cubicBezTo>
                  <a:pt x="1273" y="414"/>
                  <a:pt x="1273" y="414"/>
                  <a:pt x="1273" y="414"/>
                </a:cubicBezTo>
                <a:cubicBezTo>
                  <a:pt x="1273" y="630"/>
                  <a:pt x="1273" y="630"/>
                  <a:pt x="1273" y="630"/>
                </a:cubicBezTo>
                <a:cubicBezTo>
                  <a:pt x="1536" y="630"/>
                  <a:pt x="1536" y="630"/>
                  <a:pt x="1536" y="630"/>
                </a:cubicBezTo>
                <a:cubicBezTo>
                  <a:pt x="1492" y="710"/>
                  <a:pt x="1407" y="764"/>
                  <a:pt x="1309" y="764"/>
                </a:cubicBezTo>
                <a:cubicBezTo>
                  <a:pt x="1166" y="764"/>
                  <a:pt x="1050" y="648"/>
                  <a:pt x="1050" y="504"/>
                </a:cubicBezTo>
                <a:cubicBezTo>
                  <a:pt x="1050" y="361"/>
                  <a:pt x="1166" y="245"/>
                  <a:pt x="1309" y="245"/>
                </a:cubicBezTo>
                <a:cubicBezTo>
                  <a:pt x="1396" y="245"/>
                  <a:pt x="1474" y="289"/>
                  <a:pt x="1521" y="355"/>
                </a:cubicBezTo>
                <a:cubicBezTo>
                  <a:pt x="1679" y="163"/>
                  <a:pt x="1679" y="163"/>
                  <a:pt x="1679" y="163"/>
                </a:cubicBezTo>
                <a:cubicBezTo>
                  <a:pt x="1587" y="63"/>
                  <a:pt x="1455" y="0"/>
                  <a:pt x="1309" y="0"/>
                </a:cubicBezTo>
                <a:cubicBezTo>
                  <a:pt x="1110" y="0"/>
                  <a:pt x="939" y="115"/>
                  <a:pt x="857" y="282"/>
                </a:cubicBezTo>
                <a:cubicBezTo>
                  <a:pt x="845" y="220"/>
                  <a:pt x="818" y="168"/>
                  <a:pt x="776" y="126"/>
                </a:cubicBezTo>
                <a:cubicBezTo>
                  <a:pt x="707" y="56"/>
                  <a:pt x="601" y="21"/>
                  <a:pt x="461" y="20"/>
                </a:cubicBezTo>
                <a:cubicBezTo>
                  <a:pt x="0" y="20"/>
                  <a:pt x="0" y="20"/>
                  <a:pt x="0" y="20"/>
                </a:cubicBezTo>
                <a:cubicBezTo>
                  <a:pt x="0" y="990"/>
                  <a:pt x="0" y="990"/>
                  <a:pt x="0" y="990"/>
                </a:cubicBezTo>
                <a:cubicBezTo>
                  <a:pt x="287" y="990"/>
                  <a:pt x="287" y="990"/>
                  <a:pt x="287" y="990"/>
                </a:cubicBezTo>
                <a:cubicBezTo>
                  <a:pt x="287" y="678"/>
                  <a:pt x="287" y="678"/>
                  <a:pt x="287" y="678"/>
                </a:cubicBezTo>
                <a:cubicBezTo>
                  <a:pt x="585" y="990"/>
                  <a:pt x="585" y="990"/>
                  <a:pt x="585" y="990"/>
                </a:cubicBezTo>
                <a:cubicBezTo>
                  <a:pt x="935" y="990"/>
                  <a:pt x="935" y="990"/>
                  <a:pt x="935" y="990"/>
                </a:cubicBezTo>
                <a:cubicBezTo>
                  <a:pt x="646" y="688"/>
                  <a:pt x="646" y="688"/>
                  <a:pt x="646" y="688"/>
                </a:cubicBezTo>
                <a:cubicBezTo>
                  <a:pt x="695" y="670"/>
                  <a:pt x="743" y="645"/>
                  <a:pt x="776" y="612"/>
                </a:cubicBezTo>
                <a:cubicBezTo>
                  <a:pt x="788" y="599"/>
                  <a:pt x="800" y="586"/>
                  <a:pt x="810" y="572"/>
                </a:cubicBezTo>
                <a:cubicBezTo>
                  <a:pt x="842" y="819"/>
                  <a:pt x="1053" y="1010"/>
                  <a:pt x="1309" y="1010"/>
                </a:cubicBezTo>
                <a:cubicBezTo>
                  <a:pt x="1410" y="1010"/>
                  <a:pt x="1504" y="980"/>
                  <a:pt x="1583" y="928"/>
                </a:cubicBezTo>
                <a:cubicBezTo>
                  <a:pt x="1583" y="990"/>
                  <a:pt x="1583" y="990"/>
                  <a:pt x="1583" y="990"/>
                </a:cubicBezTo>
                <a:cubicBezTo>
                  <a:pt x="2021" y="990"/>
                  <a:pt x="2021" y="990"/>
                  <a:pt x="2021" y="990"/>
                </a:cubicBezTo>
                <a:cubicBezTo>
                  <a:pt x="2081" y="848"/>
                  <a:pt x="2081" y="848"/>
                  <a:pt x="2081" y="848"/>
                </a:cubicBezTo>
                <a:cubicBezTo>
                  <a:pt x="2443" y="848"/>
                  <a:pt x="2443" y="848"/>
                  <a:pt x="2443" y="848"/>
                </a:cubicBezTo>
                <a:cubicBezTo>
                  <a:pt x="2504" y="990"/>
                  <a:pt x="2504" y="990"/>
                  <a:pt x="2504" y="990"/>
                </a:cubicBezTo>
                <a:cubicBezTo>
                  <a:pt x="2814" y="990"/>
                  <a:pt x="2814" y="990"/>
                  <a:pt x="2814" y="990"/>
                </a:cubicBezTo>
                <a:lnTo>
                  <a:pt x="2400" y="18"/>
                </a:lnTo>
                <a:close/>
                <a:moveTo>
                  <a:pt x="574" y="365"/>
                </a:moveTo>
                <a:cubicBezTo>
                  <a:pt x="574" y="427"/>
                  <a:pt x="528" y="463"/>
                  <a:pt x="447" y="463"/>
                </a:cubicBezTo>
                <a:cubicBezTo>
                  <a:pt x="287" y="463"/>
                  <a:pt x="287" y="463"/>
                  <a:pt x="287" y="463"/>
                </a:cubicBezTo>
                <a:cubicBezTo>
                  <a:pt x="287" y="264"/>
                  <a:pt x="287" y="264"/>
                  <a:pt x="287" y="264"/>
                </a:cubicBezTo>
                <a:cubicBezTo>
                  <a:pt x="446" y="264"/>
                  <a:pt x="446" y="264"/>
                  <a:pt x="446" y="264"/>
                </a:cubicBezTo>
                <a:cubicBezTo>
                  <a:pt x="504" y="264"/>
                  <a:pt x="574" y="281"/>
                  <a:pt x="574" y="362"/>
                </a:cubicBezTo>
                <a:lnTo>
                  <a:pt x="574" y="365"/>
                </a:lnTo>
                <a:close/>
                <a:moveTo>
                  <a:pt x="2166" y="629"/>
                </a:moveTo>
                <a:cubicBezTo>
                  <a:pt x="2262" y="386"/>
                  <a:pt x="2262" y="386"/>
                  <a:pt x="2262" y="386"/>
                </a:cubicBezTo>
                <a:cubicBezTo>
                  <a:pt x="2361" y="629"/>
                  <a:pt x="2361" y="629"/>
                  <a:pt x="2361" y="629"/>
                </a:cubicBezTo>
                <a:lnTo>
                  <a:pt x="2166" y="6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Title 1"/>
          <p:cNvSpPr>
            <a:spLocks noGrp="1"/>
          </p:cNvSpPr>
          <p:nvPr>
            <p:ph type="ctrTitle" hasCustomPrompt="1"/>
          </p:nvPr>
        </p:nvSpPr>
        <p:spPr bwMode="gray">
          <a:xfrm>
            <a:off x="5075708" y="2738628"/>
            <a:ext cx="6620991" cy="1380744"/>
          </a:xfrm>
        </p:spPr>
        <p:txBody>
          <a:bodyPr lIns="0" tIns="0" rIns="0" bIns="0" anchor="ctr"/>
          <a:lstStyle>
            <a:lvl1pPr algn="l">
              <a:defRPr sz="3200">
                <a:solidFill>
                  <a:schemeClr val="tx1"/>
                </a:solidFill>
              </a:defRPr>
            </a:lvl1pPr>
          </a:lstStyle>
          <a:p>
            <a:r>
              <a:rPr lang="en-US" dirty="0" smtClean="0"/>
              <a:t>Section Divider</a:t>
            </a:r>
            <a:endParaRPr lang="en-US" dirty="0"/>
          </a:p>
        </p:txBody>
      </p:sp>
      <p:sp>
        <p:nvSpPr>
          <p:cNvPr id="22" name="Subtitle 2"/>
          <p:cNvSpPr>
            <a:spLocks noGrp="1"/>
          </p:cNvSpPr>
          <p:nvPr>
            <p:ph type="subTitle" idx="1"/>
          </p:nvPr>
        </p:nvSpPr>
        <p:spPr bwMode="gray">
          <a:xfrm>
            <a:off x="5081296" y="4491328"/>
            <a:ext cx="6613728" cy="813816"/>
          </a:xfrm>
        </p:spPr>
        <p:txBody>
          <a:bodyPr lIns="0" tIns="0" rIns="0" bIns="0"/>
          <a:lstStyle>
            <a:lvl1pPr marL="0" indent="0" algn="l">
              <a:spcBef>
                <a:spcPts val="600"/>
              </a:spcBef>
              <a:buNone/>
              <a:defRPr sz="18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grpSp>
        <p:nvGrpSpPr>
          <p:cNvPr id="2" name="Group 1"/>
          <p:cNvGrpSpPr/>
          <p:nvPr userDrawn="1"/>
        </p:nvGrpSpPr>
        <p:grpSpPr>
          <a:xfrm>
            <a:off x="-1847850" y="0"/>
            <a:ext cx="1752600" cy="3554819"/>
            <a:chOff x="-1847850" y="1598386"/>
            <a:chExt cx="1752600" cy="3554819"/>
          </a:xfrm>
        </p:grpSpPr>
        <p:sp>
          <p:nvSpPr>
            <p:cNvPr id="15" name="TextBox 14"/>
            <p:cNvSpPr txBox="1"/>
            <p:nvPr userDrawn="1"/>
          </p:nvSpPr>
          <p:spPr bwMode="gray">
            <a:xfrm>
              <a:off x="-1847850" y="1598386"/>
              <a:ext cx="1752600" cy="3554819"/>
            </a:xfrm>
            <a:prstGeom prst="rect">
              <a:avLst/>
            </a:prstGeom>
            <a:solidFill>
              <a:schemeClr val="tx2"/>
            </a:solidFill>
          </p:spPr>
          <p:txBody>
            <a:bodyPr wrap="square" rtlCol="0">
              <a:spAutoFit/>
            </a:bodyPr>
            <a:lstStyle/>
            <a:p>
              <a:r>
                <a:rPr lang="en-US" sz="1100" b="1" dirty="0" smtClean="0">
                  <a:solidFill>
                    <a:schemeClr val="bg1"/>
                  </a:solidFill>
                </a:rPr>
                <a:t>To change photo:</a:t>
              </a:r>
            </a:p>
            <a:p>
              <a:pPr marL="171450" indent="-171450">
                <a:spcBef>
                  <a:spcPts val="300"/>
                </a:spcBef>
                <a:buFont typeface="+mj-lt"/>
                <a:buAutoNum type="arabicPeriod"/>
              </a:pPr>
              <a:r>
                <a:rPr lang="en-US" sz="1100" dirty="0" smtClean="0">
                  <a:solidFill>
                    <a:schemeClr val="bg1"/>
                  </a:solidFill>
                </a:rPr>
                <a:t>Delet</a:t>
              </a:r>
              <a:r>
                <a:rPr lang="en-US" sz="1100" baseline="0" dirty="0" smtClean="0">
                  <a:solidFill>
                    <a:schemeClr val="bg1"/>
                  </a:solidFill>
                </a:rPr>
                <a:t>e the</a:t>
              </a:r>
              <a:r>
                <a:rPr lang="en-US" sz="1100" dirty="0" smtClean="0">
                  <a:solidFill>
                    <a:schemeClr val="bg1"/>
                  </a:solidFill>
                </a:rPr>
                <a:t> current image. This will leave</a:t>
              </a:r>
              <a:r>
                <a:rPr lang="en-US" sz="1100" baseline="0" dirty="0" smtClean="0">
                  <a:solidFill>
                    <a:schemeClr val="bg1"/>
                  </a:solidFill>
                </a:rPr>
                <a:t> a blank placeholder with a picture icon.</a:t>
              </a:r>
            </a:p>
            <a:p>
              <a:pPr marL="171450" indent="-171450">
                <a:spcBef>
                  <a:spcPts val="300"/>
                </a:spcBef>
                <a:buFont typeface="+mj-lt"/>
                <a:buAutoNum type="arabicPeriod"/>
              </a:pPr>
              <a:r>
                <a:rPr lang="en-US" sz="1100" dirty="0" smtClean="0">
                  <a:solidFill>
                    <a:schemeClr val="bg1"/>
                  </a:solidFill>
                </a:rPr>
                <a:t>Click the icon to add a new image. The photo will be automatically</a:t>
              </a:r>
              <a:r>
                <a:rPr lang="en-US" sz="1100" baseline="0" dirty="0" smtClean="0">
                  <a:solidFill>
                    <a:schemeClr val="bg1"/>
                  </a:solidFill>
                </a:rPr>
                <a:t> </a:t>
              </a:r>
              <a:r>
                <a:rPr lang="en-US" sz="1100" dirty="0" smtClean="0">
                  <a:solidFill>
                    <a:schemeClr val="bg1"/>
                  </a:solidFill>
                </a:rPr>
                <a:t>be cropped to fit the placeholder.</a:t>
              </a:r>
            </a:p>
            <a:p>
              <a:endParaRPr lang="en-US" sz="1100" dirty="0" smtClean="0">
                <a:solidFill>
                  <a:schemeClr val="bg1"/>
                </a:solidFill>
              </a:endParaRPr>
            </a:p>
            <a:p>
              <a:r>
                <a:rPr lang="en-US" sz="1100" b="1" dirty="0" smtClean="0">
                  <a:solidFill>
                    <a:schemeClr val="bg1"/>
                  </a:solidFill>
                </a:rPr>
                <a:t>NOTE: </a:t>
              </a:r>
              <a:r>
                <a:rPr lang="en-US" sz="1100" dirty="0" smtClean="0">
                  <a:solidFill>
                    <a:schemeClr val="bg1"/>
                  </a:solidFill>
                </a:rPr>
                <a:t>If you </a:t>
              </a:r>
              <a:r>
                <a:rPr lang="en-US" sz="1100" baseline="0" dirty="0" smtClean="0">
                  <a:solidFill>
                    <a:schemeClr val="bg1"/>
                  </a:solidFill>
                </a:rPr>
                <a:t>use the  “Change Picture” function,</a:t>
              </a:r>
              <a:br>
                <a:rPr lang="en-US" sz="1100" baseline="0" dirty="0" smtClean="0">
                  <a:solidFill>
                    <a:schemeClr val="bg1"/>
                  </a:solidFill>
                </a:rPr>
              </a:br>
              <a:r>
                <a:rPr lang="en-US" sz="1100" baseline="0" dirty="0" smtClean="0">
                  <a:solidFill>
                    <a:schemeClr val="bg1"/>
                  </a:solidFill>
                </a:rPr>
                <a:t>the image will be imported in its original proportions and won’t fill the placeholder completely and will need to be cropped. </a:t>
              </a:r>
              <a:endParaRPr lang="en-US" sz="1100" dirty="0" smtClean="0">
                <a:solidFill>
                  <a:schemeClr val="bg1"/>
                </a:solidFill>
              </a:endParaRPr>
            </a:p>
          </p:txBody>
        </p:sp>
        <p:pic>
          <p:nvPicPr>
            <p:cNvPr id="16" name="Picture 15"/>
            <p:cNvPicPr>
              <a:picLocks noChangeAspect="1"/>
            </p:cNvPicPr>
            <p:nvPr userDrawn="1"/>
          </p:nvPicPr>
          <p:blipFill rotWithShape="1">
            <a:blip r:embed="rId2"/>
            <a:srcRect t="9894" r="8548" b="9892"/>
            <a:stretch/>
          </p:blipFill>
          <p:spPr>
            <a:xfrm>
              <a:off x="-1182295" y="3914776"/>
              <a:ext cx="911406" cy="157260"/>
            </a:xfrm>
            <a:prstGeom prst="rect">
              <a:avLst/>
            </a:prstGeom>
          </p:spPr>
        </p:pic>
        <p:pic>
          <p:nvPicPr>
            <p:cNvPr id="18" name="Picture 17"/>
            <p:cNvPicPr>
              <a:picLocks noChangeAspect="1"/>
            </p:cNvPicPr>
            <p:nvPr userDrawn="1"/>
          </p:nvPicPr>
          <p:blipFill rotWithShape="1">
            <a:blip r:embed="rId3"/>
            <a:srcRect l="7228" t="8542" r="7228" b="8542"/>
            <a:stretch/>
          </p:blipFill>
          <p:spPr>
            <a:xfrm>
              <a:off x="-386486" y="2338388"/>
              <a:ext cx="207772" cy="176212"/>
            </a:xfrm>
            <a:prstGeom prst="rect">
              <a:avLst/>
            </a:prstGeom>
          </p:spPr>
        </p:pic>
      </p:grpSp>
      <p:sp>
        <p:nvSpPr>
          <p:cNvPr id="14" name="Freeform 5"/>
          <p:cNvSpPr>
            <a:spLocks noEditPoints="1"/>
          </p:cNvSpPr>
          <p:nvPr userDrawn="1"/>
        </p:nvSpPr>
        <p:spPr bwMode="gray">
          <a:xfrm>
            <a:off x="5084064" y="694944"/>
            <a:ext cx="1311443" cy="471714"/>
          </a:xfrm>
          <a:custGeom>
            <a:avLst/>
            <a:gdLst>
              <a:gd name="T0" fmla="*/ 2400 w 2814"/>
              <a:gd name="T1" fmla="*/ 18 h 1010"/>
              <a:gd name="T2" fmla="*/ 2124 w 2814"/>
              <a:gd name="T3" fmla="*/ 18 h 1010"/>
              <a:gd name="T4" fmla="*/ 1799 w 2814"/>
              <a:gd name="T5" fmla="*/ 783 h 1010"/>
              <a:gd name="T6" fmla="*/ 1799 w 2814"/>
              <a:gd name="T7" fmla="*/ 414 h 1010"/>
              <a:gd name="T8" fmla="*/ 1273 w 2814"/>
              <a:gd name="T9" fmla="*/ 414 h 1010"/>
              <a:gd name="T10" fmla="*/ 1273 w 2814"/>
              <a:gd name="T11" fmla="*/ 630 h 1010"/>
              <a:gd name="T12" fmla="*/ 1536 w 2814"/>
              <a:gd name="T13" fmla="*/ 630 h 1010"/>
              <a:gd name="T14" fmla="*/ 1309 w 2814"/>
              <a:gd name="T15" fmla="*/ 764 h 1010"/>
              <a:gd name="T16" fmla="*/ 1050 w 2814"/>
              <a:gd name="T17" fmla="*/ 504 h 1010"/>
              <a:gd name="T18" fmla="*/ 1309 w 2814"/>
              <a:gd name="T19" fmla="*/ 245 h 1010"/>
              <a:gd name="T20" fmla="*/ 1521 w 2814"/>
              <a:gd name="T21" fmla="*/ 355 h 1010"/>
              <a:gd name="T22" fmla="*/ 1679 w 2814"/>
              <a:gd name="T23" fmla="*/ 163 h 1010"/>
              <a:gd name="T24" fmla="*/ 1309 w 2814"/>
              <a:gd name="T25" fmla="*/ 0 h 1010"/>
              <a:gd name="T26" fmla="*/ 857 w 2814"/>
              <a:gd name="T27" fmla="*/ 282 h 1010"/>
              <a:gd name="T28" fmla="*/ 776 w 2814"/>
              <a:gd name="T29" fmla="*/ 126 h 1010"/>
              <a:gd name="T30" fmla="*/ 461 w 2814"/>
              <a:gd name="T31" fmla="*/ 20 h 1010"/>
              <a:gd name="T32" fmla="*/ 0 w 2814"/>
              <a:gd name="T33" fmla="*/ 20 h 1010"/>
              <a:gd name="T34" fmla="*/ 0 w 2814"/>
              <a:gd name="T35" fmla="*/ 990 h 1010"/>
              <a:gd name="T36" fmla="*/ 287 w 2814"/>
              <a:gd name="T37" fmla="*/ 990 h 1010"/>
              <a:gd name="T38" fmla="*/ 287 w 2814"/>
              <a:gd name="T39" fmla="*/ 678 h 1010"/>
              <a:gd name="T40" fmla="*/ 585 w 2814"/>
              <a:gd name="T41" fmla="*/ 990 h 1010"/>
              <a:gd name="T42" fmla="*/ 935 w 2814"/>
              <a:gd name="T43" fmla="*/ 990 h 1010"/>
              <a:gd name="T44" fmla="*/ 646 w 2814"/>
              <a:gd name="T45" fmla="*/ 688 h 1010"/>
              <a:gd name="T46" fmla="*/ 776 w 2814"/>
              <a:gd name="T47" fmla="*/ 612 h 1010"/>
              <a:gd name="T48" fmla="*/ 810 w 2814"/>
              <a:gd name="T49" fmla="*/ 572 h 1010"/>
              <a:gd name="T50" fmla="*/ 1309 w 2814"/>
              <a:gd name="T51" fmla="*/ 1010 h 1010"/>
              <a:gd name="T52" fmla="*/ 1583 w 2814"/>
              <a:gd name="T53" fmla="*/ 928 h 1010"/>
              <a:gd name="T54" fmla="*/ 1583 w 2814"/>
              <a:gd name="T55" fmla="*/ 990 h 1010"/>
              <a:gd name="T56" fmla="*/ 2021 w 2814"/>
              <a:gd name="T57" fmla="*/ 990 h 1010"/>
              <a:gd name="T58" fmla="*/ 2081 w 2814"/>
              <a:gd name="T59" fmla="*/ 848 h 1010"/>
              <a:gd name="T60" fmla="*/ 2443 w 2814"/>
              <a:gd name="T61" fmla="*/ 848 h 1010"/>
              <a:gd name="T62" fmla="*/ 2504 w 2814"/>
              <a:gd name="T63" fmla="*/ 990 h 1010"/>
              <a:gd name="T64" fmla="*/ 2814 w 2814"/>
              <a:gd name="T65" fmla="*/ 990 h 1010"/>
              <a:gd name="T66" fmla="*/ 2400 w 2814"/>
              <a:gd name="T67" fmla="*/ 18 h 1010"/>
              <a:gd name="T68" fmla="*/ 574 w 2814"/>
              <a:gd name="T69" fmla="*/ 365 h 1010"/>
              <a:gd name="T70" fmla="*/ 447 w 2814"/>
              <a:gd name="T71" fmla="*/ 463 h 1010"/>
              <a:gd name="T72" fmla="*/ 287 w 2814"/>
              <a:gd name="T73" fmla="*/ 463 h 1010"/>
              <a:gd name="T74" fmla="*/ 287 w 2814"/>
              <a:gd name="T75" fmla="*/ 264 h 1010"/>
              <a:gd name="T76" fmla="*/ 446 w 2814"/>
              <a:gd name="T77" fmla="*/ 264 h 1010"/>
              <a:gd name="T78" fmla="*/ 574 w 2814"/>
              <a:gd name="T79" fmla="*/ 362 h 1010"/>
              <a:gd name="T80" fmla="*/ 574 w 2814"/>
              <a:gd name="T81" fmla="*/ 365 h 1010"/>
              <a:gd name="T82" fmla="*/ 2166 w 2814"/>
              <a:gd name="T83" fmla="*/ 629 h 1010"/>
              <a:gd name="T84" fmla="*/ 2262 w 2814"/>
              <a:gd name="T85" fmla="*/ 386 h 1010"/>
              <a:gd name="T86" fmla="*/ 2361 w 2814"/>
              <a:gd name="T87" fmla="*/ 629 h 1010"/>
              <a:gd name="T88" fmla="*/ 2166 w 2814"/>
              <a:gd name="T89" fmla="*/ 629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14" h="1010">
                <a:moveTo>
                  <a:pt x="2400" y="18"/>
                </a:moveTo>
                <a:cubicBezTo>
                  <a:pt x="2124" y="18"/>
                  <a:pt x="2124" y="18"/>
                  <a:pt x="2124" y="18"/>
                </a:cubicBezTo>
                <a:cubicBezTo>
                  <a:pt x="1799" y="783"/>
                  <a:pt x="1799" y="783"/>
                  <a:pt x="1799" y="783"/>
                </a:cubicBezTo>
                <a:cubicBezTo>
                  <a:pt x="1799" y="414"/>
                  <a:pt x="1799" y="414"/>
                  <a:pt x="1799" y="414"/>
                </a:cubicBezTo>
                <a:cubicBezTo>
                  <a:pt x="1273" y="414"/>
                  <a:pt x="1273" y="414"/>
                  <a:pt x="1273" y="414"/>
                </a:cubicBezTo>
                <a:cubicBezTo>
                  <a:pt x="1273" y="630"/>
                  <a:pt x="1273" y="630"/>
                  <a:pt x="1273" y="630"/>
                </a:cubicBezTo>
                <a:cubicBezTo>
                  <a:pt x="1536" y="630"/>
                  <a:pt x="1536" y="630"/>
                  <a:pt x="1536" y="630"/>
                </a:cubicBezTo>
                <a:cubicBezTo>
                  <a:pt x="1492" y="710"/>
                  <a:pt x="1407" y="764"/>
                  <a:pt x="1309" y="764"/>
                </a:cubicBezTo>
                <a:cubicBezTo>
                  <a:pt x="1166" y="764"/>
                  <a:pt x="1050" y="648"/>
                  <a:pt x="1050" y="504"/>
                </a:cubicBezTo>
                <a:cubicBezTo>
                  <a:pt x="1050" y="361"/>
                  <a:pt x="1166" y="245"/>
                  <a:pt x="1309" y="245"/>
                </a:cubicBezTo>
                <a:cubicBezTo>
                  <a:pt x="1396" y="245"/>
                  <a:pt x="1474" y="289"/>
                  <a:pt x="1521" y="355"/>
                </a:cubicBezTo>
                <a:cubicBezTo>
                  <a:pt x="1679" y="163"/>
                  <a:pt x="1679" y="163"/>
                  <a:pt x="1679" y="163"/>
                </a:cubicBezTo>
                <a:cubicBezTo>
                  <a:pt x="1587" y="63"/>
                  <a:pt x="1455" y="0"/>
                  <a:pt x="1309" y="0"/>
                </a:cubicBezTo>
                <a:cubicBezTo>
                  <a:pt x="1110" y="0"/>
                  <a:pt x="939" y="115"/>
                  <a:pt x="857" y="282"/>
                </a:cubicBezTo>
                <a:cubicBezTo>
                  <a:pt x="845" y="220"/>
                  <a:pt x="818" y="168"/>
                  <a:pt x="776" y="126"/>
                </a:cubicBezTo>
                <a:cubicBezTo>
                  <a:pt x="707" y="56"/>
                  <a:pt x="601" y="21"/>
                  <a:pt x="461" y="20"/>
                </a:cubicBezTo>
                <a:cubicBezTo>
                  <a:pt x="0" y="20"/>
                  <a:pt x="0" y="20"/>
                  <a:pt x="0" y="20"/>
                </a:cubicBezTo>
                <a:cubicBezTo>
                  <a:pt x="0" y="990"/>
                  <a:pt x="0" y="990"/>
                  <a:pt x="0" y="990"/>
                </a:cubicBezTo>
                <a:cubicBezTo>
                  <a:pt x="287" y="990"/>
                  <a:pt x="287" y="990"/>
                  <a:pt x="287" y="990"/>
                </a:cubicBezTo>
                <a:cubicBezTo>
                  <a:pt x="287" y="678"/>
                  <a:pt x="287" y="678"/>
                  <a:pt x="287" y="678"/>
                </a:cubicBezTo>
                <a:cubicBezTo>
                  <a:pt x="585" y="990"/>
                  <a:pt x="585" y="990"/>
                  <a:pt x="585" y="990"/>
                </a:cubicBezTo>
                <a:cubicBezTo>
                  <a:pt x="935" y="990"/>
                  <a:pt x="935" y="990"/>
                  <a:pt x="935" y="990"/>
                </a:cubicBezTo>
                <a:cubicBezTo>
                  <a:pt x="646" y="688"/>
                  <a:pt x="646" y="688"/>
                  <a:pt x="646" y="688"/>
                </a:cubicBezTo>
                <a:cubicBezTo>
                  <a:pt x="695" y="670"/>
                  <a:pt x="743" y="645"/>
                  <a:pt x="776" y="612"/>
                </a:cubicBezTo>
                <a:cubicBezTo>
                  <a:pt x="788" y="599"/>
                  <a:pt x="800" y="586"/>
                  <a:pt x="810" y="572"/>
                </a:cubicBezTo>
                <a:cubicBezTo>
                  <a:pt x="842" y="819"/>
                  <a:pt x="1053" y="1010"/>
                  <a:pt x="1309" y="1010"/>
                </a:cubicBezTo>
                <a:cubicBezTo>
                  <a:pt x="1410" y="1010"/>
                  <a:pt x="1504" y="980"/>
                  <a:pt x="1583" y="928"/>
                </a:cubicBezTo>
                <a:cubicBezTo>
                  <a:pt x="1583" y="990"/>
                  <a:pt x="1583" y="990"/>
                  <a:pt x="1583" y="990"/>
                </a:cubicBezTo>
                <a:cubicBezTo>
                  <a:pt x="2021" y="990"/>
                  <a:pt x="2021" y="990"/>
                  <a:pt x="2021" y="990"/>
                </a:cubicBezTo>
                <a:cubicBezTo>
                  <a:pt x="2081" y="848"/>
                  <a:pt x="2081" y="848"/>
                  <a:pt x="2081" y="848"/>
                </a:cubicBezTo>
                <a:cubicBezTo>
                  <a:pt x="2443" y="848"/>
                  <a:pt x="2443" y="848"/>
                  <a:pt x="2443" y="848"/>
                </a:cubicBezTo>
                <a:cubicBezTo>
                  <a:pt x="2504" y="990"/>
                  <a:pt x="2504" y="990"/>
                  <a:pt x="2504" y="990"/>
                </a:cubicBezTo>
                <a:cubicBezTo>
                  <a:pt x="2814" y="990"/>
                  <a:pt x="2814" y="990"/>
                  <a:pt x="2814" y="990"/>
                </a:cubicBezTo>
                <a:lnTo>
                  <a:pt x="2400" y="18"/>
                </a:lnTo>
                <a:close/>
                <a:moveTo>
                  <a:pt x="574" y="365"/>
                </a:moveTo>
                <a:cubicBezTo>
                  <a:pt x="574" y="427"/>
                  <a:pt x="528" y="463"/>
                  <a:pt x="447" y="463"/>
                </a:cubicBezTo>
                <a:cubicBezTo>
                  <a:pt x="287" y="463"/>
                  <a:pt x="287" y="463"/>
                  <a:pt x="287" y="463"/>
                </a:cubicBezTo>
                <a:cubicBezTo>
                  <a:pt x="287" y="264"/>
                  <a:pt x="287" y="264"/>
                  <a:pt x="287" y="264"/>
                </a:cubicBezTo>
                <a:cubicBezTo>
                  <a:pt x="446" y="264"/>
                  <a:pt x="446" y="264"/>
                  <a:pt x="446" y="264"/>
                </a:cubicBezTo>
                <a:cubicBezTo>
                  <a:pt x="504" y="264"/>
                  <a:pt x="574" y="281"/>
                  <a:pt x="574" y="362"/>
                </a:cubicBezTo>
                <a:lnTo>
                  <a:pt x="574" y="365"/>
                </a:lnTo>
                <a:close/>
                <a:moveTo>
                  <a:pt x="2166" y="629"/>
                </a:moveTo>
                <a:cubicBezTo>
                  <a:pt x="2262" y="386"/>
                  <a:pt x="2262" y="386"/>
                  <a:pt x="2262" y="386"/>
                </a:cubicBezTo>
                <a:cubicBezTo>
                  <a:pt x="2361" y="629"/>
                  <a:pt x="2361" y="629"/>
                  <a:pt x="2361" y="629"/>
                </a:cubicBezTo>
                <a:lnTo>
                  <a:pt x="2166" y="6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Rectangle 18"/>
          <p:cNvSpPr/>
          <p:nvPr userDrawn="1"/>
        </p:nvSpPr>
        <p:spPr bwMode="gray">
          <a:xfrm>
            <a:off x="4453129" y="0"/>
            <a:ext cx="11887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Slide Number Placeholder 5"/>
          <p:cNvSpPr txBox="1">
            <a:spLocks/>
          </p:cNvSpPr>
          <p:nvPr userDrawn="1"/>
        </p:nvSpPr>
        <p:spPr bwMode="gray">
          <a:xfrm>
            <a:off x="11402848" y="6545231"/>
            <a:ext cx="584200" cy="120184"/>
          </a:xfrm>
          <a:prstGeom prst="rect">
            <a:avLst/>
          </a:prstGeom>
        </p:spPr>
        <p:txBody>
          <a:bodyPr wrap="non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tx1"/>
                </a:solidFill>
              </a:rPr>
              <a:pPr/>
              <a:t>‹#›</a:t>
            </a:fld>
            <a:endParaRPr lang="en-US" sz="800" dirty="0">
              <a:solidFill>
                <a:schemeClr val="tx1"/>
              </a:solidFill>
            </a:endParaRPr>
          </a:p>
        </p:txBody>
      </p:sp>
    </p:spTree>
    <p:extLst>
      <p:ext uri="{BB962C8B-B14F-4D97-AF65-F5344CB8AC3E}">
        <p14:creationId xmlns:p14="http://schemas.microsoft.com/office/powerpoint/2010/main" val="266687239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5" name="Rectangle 14"/>
          <p:cNvSpPr/>
          <p:nvPr userDrawn="1"/>
        </p:nvSpPr>
        <p:spPr bwMode="invGray">
          <a:xfrm>
            <a:off x="0" y="0"/>
            <a:ext cx="12192000" cy="6858000"/>
          </a:xfrm>
          <a:prstGeom prst="rect">
            <a:avLst/>
          </a:prstGeom>
          <a:solidFill>
            <a:srgbClr val="E31B23"/>
          </a:solidFill>
          <a:ln w="25400" cap="flat" cmpd="sng" algn="ctr">
            <a:noFill/>
            <a:prstDash val="solid"/>
          </a:ln>
          <a:effectLst/>
        </p:spPr>
        <p:txBody>
          <a:bodyPr rtlCol="0" anchor="ctr"/>
          <a:lstStyle/>
          <a:p>
            <a:pPr algn="ctr">
              <a:defRPr/>
            </a:pPr>
            <a:endParaRPr lang="en-US" sz="1800" kern="0" dirty="0">
              <a:solidFill>
                <a:srgbClr val="FFFFFF"/>
              </a:solidFill>
            </a:endParaRPr>
          </a:p>
        </p:txBody>
      </p:sp>
      <p:sp>
        <p:nvSpPr>
          <p:cNvPr id="16" name="Rectangle 15"/>
          <p:cNvSpPr/>
          <p:nvPr userDrawn="1"/>
        </p:nvSpPr>
        <p:spPr bwMode="ltGray">
          <a:xfrm>
            <a:off x="4453128" y="0"/>
            <a:ext cx="118873" cy="6858000"/>
          </a:xfrm>
          <a:prstGeom prst="rect">
            <a:avLst/>
          </a:prstGeom>
          <a:solidFill>
            <a:srgbClr val="848383">
              <a:lumMod val="50000"/>
            </a:srgbClr>
          </a:solidFill>
          <a:ln w="25400" cap="flat" cmpd="sng" algn="ctr">
            <a:noFill/>
            <a:prstDash val="solid"/>
          </a:ln>
          <a:effectLst/>
        </p:spPr>
        <p:txBody>
          <a:bodyPr rtlCol="0" anchor="ctr"/>
          <a:lstStyle/>
          <a:p>
            <a:pPr algn="ctr">
              <a:defRPr/>
            </a:pPr>
            <a:endParaRPr lang="en-US" sz="1800" kern="0" dirty="0">
              <a:solidFill>
                <a:srgbClr val="FFFFFF"/>
              </a:solidFill>
            </a:endParaRPr>
          </a:p>
        </p:txBody>
      </p:sp>
      <p:grpSp>
        <p:nvGrpSpPr>
          <p:cNvPr id="8" name="McK Title Elements" hidden="1"/>
          <p:cNvGrpSpPr>
            <a:grpSpLocks/>
          </p:cNvGrpSpPr>
          <p:nvPr/>
        </p:nvGrpSpPr>
        <p:grpSpPr bwMode="auto">
          <a:xfrm>
            <a:off x="5084064" y="5201832"/>
            <a:ext cx="6826582" cy="484305"/>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bwMode="auto">
          <a:xfrm>
            <a:off x="5084064" y="2201864"/>
            <a:ext cx="6826582" cy="492443"/>
          </a:xfrm>
          <a:prstGeom prst="rect">
            <a:avLst/>
          </a:prstGeom>
        </p:spPr>
        <p:txBody>
          <a:bodyPr anchor="t"/>
          <a:lstStyle>
            <a:lvl1pPr>
              <a:defRPr sz="32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5084064" y="3809570"/>
            <a:ext cx="6826582" cy="276999"/>
          </a:xfrm>
        </p:spPr>
        <p:txBody>
          <a:bodyPr>
            <a:spAutoFit/>
          </a:bodyPr>
          <a:lstStyle>
            <a:lvl1pPr>
              <a:defRPr sz="1800" b="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21" name="Freeform 5"/>
          <p:cNvSpPr>
            <a:spLocks noEditPoints="1"/>
          </p:cNvSpPr>
          <p:nvPr userDrawn="1"/>
        </p:nvSpPr>
        <p:spPr bwMode="gray">
          <a:xfrm>
            <a:off x="5084064" y="694944"/>
            <a:ext cx="1612800" cy="471714"/>
          </a:xfrm>
          <a:custGeom>
            <a:avLst/>
            <a:gdLst>
              <a:gd name="T0" fmla="*/ 2400 w 2814"/>
              <a:gd name="T1" fmla="*/ 18 h 1010"/>
              <a:gd name="T2" fmla="*/ 2124 w 2814"/>
              <a:gd name="T3" fmla="*/ 18 h 1010"/>
              <a:gd name="T4" fmla="*/ 1799 w 2814"/>
              <a:gd name="T5" fmla="*/ 783 h 1010"/>
              <a:gd name="T6" fmla="*/ 1799 w 2814"/>
              <a:gd name="T7" fmla="*/ 414 h 1010"/>
              <a:gd name="T8" fmla="*/ 1273 w 2814"/>
              <a:gd name="T9" fmla="*/ 414 h 1010"/>
              <a:gd name="T10" fmla="*/ 1273 w 2814"/>
              <a:gd name="T11" fmla="*/ 630 h 1010"/>
              <a:gd name="T12" fmla="*/ 1536 w 2814"/>
              <a:gd name="T13" fmla="*/ 630 h 1010"/>
              <a:gd name="T14" fmla="*/ 1309 w 2814"/>
              <a:gd name="T15" fmla="*/ 764 h 1010"/>
              <a:gd name="T16" fmla="*/ 1050 w 2814"/>
              <a:gd name="T17" fmla="*/ 504 h 1010"/>
              <a:gd name="T18" fmla="*/ 1309 w 2814"/>
              <a:gd name="T19" fmla="*/ 245 h 1010"/>
              <a:gd name="T20" fmla="*/ 1521 w 2814"/>
              <a:gd name="T21" fmla="*/ 355 h 1010"/>
              <a:gd name="T22" fmla="*/ 1679 w 2814"/>
              <a:gd name="T23" fmla="*/ 163 h 1010"/>
              <a:gd name="T24" fmla="*/ 1309 w 2814"/>
              <a:gd name="T25" fmla="*/ 0 h 1010"/>
              <a:gd name="T26" fmla="*/ 857 w 2814"/>
              <a:gd name="T27" fmla="*/ 282 h 1010"/>
              <a:gd name="T28" fmla="*/ 776 w 2814"/>
              <a:gd name="T29" fmla="*/ 126 h 1010"/>
              <a:gd name="T30" fmla="*/ 461 w 2814"/>
              <a:gd name="T31" fmla="*/ 20 h 1010"/>
              <a:gd name="T32" fmla="*/ 0 w 2814"/>
              <a:gd name="T33" fmla="*/ 20 h 1010"/>
              <a:gd name="T34" fmla="*/ 0 w 2814"/>
              <a:gd name="T35" fmla="*/ 990 h 1010"/>
              <a:gd name="T36" fmla="*/ 287 w 2814"/>
              <a:gd name="T37" fmla="*/ 990 h 1010"/>
              <a:gd name="T38" fmla="*/ 287 w 2814"/>
              <a:gd name="T39" fmla="*/ 678 h 1010"/>
              <a:gd name="T40" fmla="*/ 585 w 2814"/>
              <a:gd name="T41" fmla="*/ 990 h 1010"/>
              <a:gd name="T42" fmla="*/ 935 w 2814"/>
              <a:gd name="T43" fmla="*/ 990 h 1010"/>
              <a:gd name="T44" fmla="*/ 646 w 2814"/>
              <a:gd name="T45" fmla="*/ 688 h 1010"/>
              <a:gd name="T46" fmla="*/ 776 w 2814"/>
              <a:gd name="T47" fmla="*/ 612 h 1010"/>
              <a:gd name="T48" fmla="*/ 810 w 2814"/>
              <a:gd name="T49" fmla="*/ 572 h 1010"/>
              <a:gd name="T50" fmla="*/ 1309 w 2814"/>
              <a:gd name="T51" fmla="*/ 1010 h 1010"/>
              <a:gd name="T52" fmla="*/ 1583 w 2814"/>
              <a:gd name="T53" fmla="*/ 928 h 1010"/>
              <a:gd name="T54" fmla="*/ 1583 w 2814"/>
              <a:gd name="T55" fmla="*/ 990 h 1010"/>
              <a:gd name="T56" fmla="*/ 2021 w 2814"/>
              <a:gd name="T57" fmla="*/ 990 h 1010"/>
              <a:gd name="T58" fmla="*/ 2081 w 2814"/>
              <a:gd name="T59" fmla="*/ 848 h 1010"/>
              <a:gd name="T60" fmla="*/ 2443 w 2814"/>
              <a:gd name="T61" fmla="*/ 848 h 1010"/>
              <a:gd name="T62" fmla="*/ 2504 w 2814"/>
              <a:gd name="T63" fmla="*/ 990 h 1010"/>
              <a:gd name="T64" fmla="*/ 2814 w 2814"/>
              <a:gd name="T65" fmla="*/ 990 h 1010"/>
              <a:gd name="T66" fmla="*/ 2400 w 2814"/>
              <a:gd name="T67" fmla="*/ 18 h 1010"/>
              <a:gd name="T68" fmla="*/ 574 w 2814"/>
              <a:gd name="T69" fmla="*/ 365 h 1010"/>
              <a:gd name="T70" fmla="*/ 447 w 2814"/>
              <a:gd name="T71" fmla="*/ 463 h 1010"/>
              <a:gd name="T72" fmla="*/ 287 w 2814"/>
              <a:gd name="T73" fmla="*/ 463 h 1010"/>
              <a:gd name="T74" fmla="*/ 287 w 2814"/>
              <a:gd name="T75" fmla="*/ 264 h 1010"/>
              <a:gd name="T76" fmla="*/ 446 w 2814"/>
              <a:gd name="T77" fmla="*/ 264 h 1010"/>
              <a:gd name="T78" fmla="*/ 574 w 2814"/>
              <a:gd name="T79" fmla="*/ 362 h 1010"/>
              <a:gd name="T80" fmla="*/ 574 w 2814"/>
              <a:gd name="T81" fmla="*/ 365 h 1010"/>
              <a:gd name="T82" fmla="*/ 2166 w 2814"/>
              <a:gd name="T83" fmla="*/ 629 h 1010"/>
              <a:gd name="T84" fmla="*/ 2262 w 2814"/>
              <a:gd name="T85" fmla="*/ 386 h 1010"/>
              <a:gd name="T86" fmla="*/ 2361 w 2814"/>
              <a:gd name="T87" fmla="*/ 629 h 1010"/>
              <a:gd name="T88" fmla="*/ 2166 w 2814"/>
              <a:gd name="T89" fmla="*/ 629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14" h="1010">
                <a:moveTo>
                  <a:pt x="2400" y="18"/>
                </a:moveTo>
                <a:cubicBezTo>
                  <a:pt x="2124" y="18"/>
                  <a:pt x="2124" y="18"/>
                  <a:pt x="2124" y="18"/>
                </a:cubicBezTo>
                <a:cubicBezTo>
                  <a:pt x="1799" y="783"/>
                  <a:pt x="1799" y="783"/>
                  <a:pt x="1799" y="783"/>
                </a:cubicBezTo>
                <a:cubicBezTo>
                  <a:pt x="1799" y="414"/>
                  <a:pt x="1799" y="414"/>
                  <a:pt x="1799" y="414"/>
                </a:cubicBezTo>
                <a:cubicBezTo>
                  <a:pt x="1273" y="414"/>
                  <a:pt x="1273" y="414"/>
                  <a:pt x="1273" y="414"/>
                </a:cubicBezTo>
                <a:cubicBezTo>
                  <a:pt x="1273" y="630"/>
                  <a:pt x="1273" y="630"/>
                  <a:pt x="1273" y="630"/>
                </a:cubicBezTo>
                <a:cubicBezTo>
                  <a:pt x="1536" y="630"/>
                  <a:pt x="1536" y="630"/>
                  <a:pt x="1536" y="630"/>
                </a:cubicBezTo>
                <a:cubicBezTo>
                  <a:pt x="1492" y="710"/>
                  <a:pt x="1407" y="764"/>
                  <a:pt x="1309" y="764"/>
                </a:cubicBezTo>
                <a:cubicBezTo>
                  <a:pt x="1166" y="764"/>
                  <a:pt x="1050" y="648"/>
                  <a:pt x="1050" y="504"/>
                </a:cubicBezTo>
                <a:cubicBezTo>
                  <a:pt x="1050" y="361"/>
                  <a:pt x="1166" y="245"/>
                  <a:pt x="1309" y="245"/>
                </a:cubicBezTo>
                <a:cubicBezTo>
                  <a:pt x="1396" y="245"/>
                  <a:pt x="1474" y="289"/>
                  <a:pt x="1521" y="355"/>
                </a:cubicBezTo>
                <a:cubicBezTo>
                  <a:pt x="1679" y="163"/>
                  <a:pt x="1679" y="163"/>
                  <a:pt x="1679" y="163"/>
                </a:cubicBezTo>
                <a:cubicBezTo>
                  <a:pt x="1587" y="63"/>
                  <a:pt x="1455" y="0"/>
                  <a:pt x="1309" y="0"/>
                </a:cubicBezTo>
                <a:cubicBezTo>
                  <a:pt x="1110" y="0"/>
                  <a:pt x="939" y="115"/>
                  <a:pt x="857" y="282"/>
                </a:cubicBezTo>
                <a:cubicBezTo>
                  <a:pt x="845" y="220"/>
                  <a:pt x="818" y="168"/>
                  <a:pt x="776" y="126"/>
                </a:cubicBezTo>
                <a:cubicBezTo>
                  <a:pt x="707" y="56"/>
                  <a:pt x="601" y="21"/>
                  <a:pt x="461" y="20"/>
                </a:cubicBezTo>
                <a:cubicBezTo>
                  <a:pt x="0" y="20"/>
                  <a:pt x="0" y="20"/>
                  <a:pt x="0" y="20"/>
                </a:cubicBezTo>
                <a:cubicBezTo>
                  <a:pt x="0" y="990"/>
                  <a:pt x="0" y="990"/>
                  <a:pt x="0" y="990"/>
                </a:cubicBezTo>
                <a:cubicBezTo>
                  <a:pt x="287" y="990"/>
                  <a:pt x="287" y="990"/>
                  <a:pt x="287" y="990"/>
                </a:cubicBezTo>
                <a:cubicBezTo>
                  <a:pt x="287" y="678"/>
                  <a:pt x="287" y="678"/>
                  <a:pt x="287" y="678"/>
                </a:cubicBezTo>
                <a:cubicBezTo>
                  <a:pt x="585" y="990"/>
                  <a:pt x="585" y="990"/>
                  <a:pt x="585" y="990"/>
                </a:cubicBezTo>
                <a:cubicBezTo>
                  <a:pt x="935" y="990"/>
                  <a:pt x="935" y="990"/>
                  <a:pt x="935" y="990"/>
                </a:cubicBezTo>
                <a:cubicBezTo>
                  <a:pt x="646" y="688"/>
                  <a:pt x="646" y="688"/>
                  <a:pt x="646" y="688"/>
                </a:cubicBezTo>
                <a:cubicBezTo>
                  <a:pt x="695" y="670"/>
                  <a:pt x="743" y="645"/>
                  <a:pt x="776" y="612"/>
                </a:cubicBezTo>
                <a:cubicBezTo>
                  <a:pt x="788" y="599"/>
                  <a:pt x="800" y="586"/>
                  <a:pt x="810" y="572"/>
                </a:cubicBezTo>
                <a:cubicBezTo>
                  <a:pt x="842" y="819"/>
                  <a:pt x="1053" y="1010"/>
                  <a:pt x="1309" y="1010"/>
                </a:cubicBezTo>
                <a:cubicBezTo>
                  <a:pt x="1410" y="1010"/>
                  <a:pt x="1504" y="980"/>
                  <a:pt x="1583" y="928"/>
                </a:cubicBezTo>
                <a:cubicBezTo>
                  <a:pt x="1583" y="990"/>
                  <a:pt x="1583" y="990"/>
                  <a:pt x="1583" y="990"/>
                </a:cubicBezTo>
                <a:cubicBezTo>
                  <a:pt x="2021" y="990"/>
                  <a:pt x="2021" y="990"/>
                  <a:pt x="2021" y="990"/>
                </a:cubicBezTo>
                <a:cubicBezTo>
                  <a:pt x="2081" y="848"/>
                  <a:pt x="2081" y="848"/>
                  <a:pt x="2081" y="848"/>
                </a:cubicBezTo>
                <a:cubicBezTo>
                  <a:pt x="2443" y="848"/>
                  <a:pt x="2443" y="848"/>
                  <a:pt x="2443" y="848"/>
                </a:cubicBezTo>
                <a:cubicBezTo>
                  <a:pt x="2504" y="990"/>
                  <a:pt x="2504" y="990"/>
                  <a:pt x="2504" y="990"/>
                </a:cubicBezTo>
                <a:cubicBezTo>
                  <a:pt x="2814" y="990"/>
                  <a:pt x="2814" y="990"/>
                  <a:pt x="2814" y="990"/>
                </a:cubicBezTo>
                <a:lnTo>
                  <a:pt x="2400" y="18"/>
                </a:lnTo>
                <a:close/>
                <a:moveTo>
                  <a:pt x="574" y="365"/>
                </a:moveTo>
                <a:cubicBezTo>
                  <a:pt x="574" y="427"/>
                  <a:pt x="528" y="463"/>
                  <a:pt x="447" y="463"/>
                </a:cubicBezTo>
                <a:cubicBezTo>
                  <a:pt x="287" y="463"/>
                  <a:pt x="287" y="463"/>
                  <a:pt x="287" y="463"/>
                </a:cubicBezTo>
                <a:cubicBezTo>
                  <a:pt x="287" y="264"/>
                  <a:pt x="287" y="264"/>
                  <a:pt x="287" y="264"/>
                </a:cubicBezTo>
                <a:cubicBezTo>
                  <a:pt x="446" y="264"/>
                  <a:pt x="446" y="264"/>
                  <a:pt x="446" y="264"/>
                </a:cubicBezTo>
                <a:cubicBezTo>
                  <a:pt x="504" y="264"/>
                  <a:pt x="574" y="281"/>
                  <a:pt x="574" y="362"/>
                </a:cubicBezTo>
                <a:lnTo>
                  <a:pt x="574" y="365"/>
                </a:lnTo>
                <a:close/>
                <a:moveTo>
                  <a:pt x="2166" y="629"/>
                </a:moveTo>
                <a:cubicBezTo>
                  <a:pt x="2262" y="386"/>
                  <a:pt x="2262" y="386"/>
                  <a:pt x="2262" y="386"/>
                </a:cubicBezTo>
                <a:cubicBezTo>
                  <a:pt x="2361" y="629"/>
                  <a:pt x="2361" y="629"/>
                  <a:pt x="2361" y="629"/>
                </a:cubicBezTo>
                <a:lnTo>
                  <a:pt x="2166" y="6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700" dirty="0">
              <a:solidFill>
                <a:srgbClr val="FFFFFF"/>
              </a:solidFill>
            </a:endParaRPr>
          </a:p>
        </p:txBody>
      </p:sp>
      <p:pic>
        <p:nvPicPr>
          <p:cNvPr id="17566" name="Picture 15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ltGray">
          <a:xfrm>
            <a:off x="0" y="-297"/>
            <a:ext cx="4454769"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9869946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a:xfrm>
            <a:off x="402828" y="259324"/>
            <a:ext cx="11195831" cy="307777"/>
          </a:xfrm>
        </p:spPr>
        <p:txBody>
          <a:bodyPr/>
          <a:lstStyle/>
          <a:p>
            <a:r>
              <a:rPr lang="en-US" smtClean="0"/>
              <a:t>Click to edit Master title style</a:t>
            </a:r>
            <a:endParaRPr lang="en-US"/>
          </a:p>
        </p:txBody>
      </p:sp>
      <p:pic>
        <p:nvPicPr>
          <p:cNvPr id="3" name="Picture 2"/>
          <p:cNvPicPr>
            <a:picLocks noChangeAspect="1"/>
          </p:cNvPicPr>
          <p:nvPr userDrawn="1"/>
        </p:nvPicPr>
        <p:blipFill>
          <a:blip r:embed="rId2">
            <a:clrChange>
              <a:clrFrom>
                <a:srgbClr val="FFFFFF"/>
              </a:clrFrom>
              <a:clrTo>
                <a:srgbClr val="FFFFFF">
                  <a:alpha val="0"/>
                </a:srgbClr>
              </a:clrTo>
            </a:clrChange>
          </a:blip>
          <a:stretch>
            <a:fillRect/>
          </a:stretch>
        </p:blipFill>
        <p:spPr>
          <a:xfrm>
            <a:off x="10368687" y="6390315"/>
            <a:ext cx="1164826" cy="441237"/>
          </a:xfrm>
          <a:prstGeom prst="rect">
            <a:avLst/>
          </a:prstGeom>
        </p:spPr>
      </p:pic>
    </p:spTree>
    <p:extLst>
      <p:ext uri="{BB962C8B-B14F-4D97-AF65-F5344CB8AC3E}">
        <p14:creationId xmlns:p14="http://schemas.microsoft.com/office/powerpoint/2010/main" val="165049406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Tree>
    <p:extLst>
      <p:ext uri="{BB962C8B-B14F-4D97-AF65-F5344CB8AC3E}">
        <p14:creationId xmlns:p14="http://schemas.microsoft.com/office/powerpoint/2010/main" val="15908670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Tree>
    <p:extLst>
      <p:ext uri="{BB962C8B-B14F-4D97-AF65-F5344CB8AC3E}">
        <p14:creationId xmlns:p14="http://schemas.microsoft.com/office/powerpoint/2010/main" val="2118912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a:p>
        </p:txBody>
      </p:sp>
      <p:sp>
        <p:nvSpPr>
          <p:cNvPr id="9"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6" name="Text Placeholder 9"/>
          <p:cNvSpPr>
            <a:spLocks noGrp="1"/>
          </p:cNvSpPr>
          <p:nvPr>
            <p:ph type="body" sz="quarter" idx="15" hasCustomPrompt="1"/>
          </p:nvPr>
        </p:nvSpPr>
        <p:spPr bwMode="gray">
          <a:xfrm>
            <a:off x="891704" y="1185767"/>
            <a:ext cx="10690697"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Tree>
    <p:extLst>
      <p:ext uri="{BB962C8B-B14F-4D97-AF65-F5344CB8AC3E}">
        <p14:creationId xmlns:p14="http://schemas.microsoft.com/office/powerpoint/2010/main" val="282841652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Content Placeholder 2"/>
          <p:cNvSpPr>
            <a:spLocks noGrp="1"/>
          </p:cNvSpPr>
          <p:nvPr>
            <p:ph idx="1"/>
          </p:nvPr>
        </p:nvSpPr>
        <p:spPr bwMode="gray">
          <a:xfrm>
            <a:off x="891705" y="1752600"/>
            <a:ext cx="10690696" cy="41727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11" name="Text Placeholder 9"/>
          <p:cNvSpPr>
            <a:spLocks noGrp="1"/>
          </p:cNvSpPr>
          <p:nvPr>
            <p:ph type="body" sz="quarter" idx="15" hasCustomPrompt="1"/>
          </p:nvPr>
        </p:nvSpPr>
        <p:spPr bwMode="gray">
          <a:xfrm>
            <a:off x="891705" y="1185767"/>
            <a:ext cx="10690696"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Tree>
    <p:extLst>
      <p:ext uri="{BB962C8B-B14F-4D97-AF65-F5344CB8AC3E}">
        <p14:creationId xmlns:p14="http://schemas.microsoft.com/office/powerpoint/2010/main" val="288882853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008"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a:p>
        </p:txBody>
      </p:sp>
      <p:sp>
        <p:nvSpPr>
          <p:cNvPr id="6" name="Text Placeholder 9"/>
          <p:cNvSpPr>
            <a:spLocks noGrp="1"/>
          </p:cNvSpPr>
          <p:nvPr>
            <p:ph type="body" sz="quarter" idx="30"/>
          </p:nvPr>
        </p:nvSpPr>
        <p:spPr bwMode="gray">
          <a:xfrm>
            <a:off x="1729942" y="1752600"/>
            <a:ext cx="9014218" cy="487680"/>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
        <p:nvSpPr>
          <p:cNvPr id="7" name="Content Placeholder 4"/>
          <p:cNvSpPr>
            <a:spLocks noGrp="1"/>
          </p:cNvSpPr>
          <p:nvPr>
            <p:ph sz="quarter" idx="35"/>
          </p:nvPr>
        </p:nvSpPr>
        <p:spPr bwMode="gray">
          <a:xfrm>
            <a:off x="1730375" y="2298701"/>
            <a:ext cx="9013826" cy="3692524"/>
          </a:xfrm>
        </p:spPr>
        <p:txBody>
          <a:bodyPr/>
          <a:lstStyle>
            <a:lvl1pPr marL="228600" indent="-228600">
              <a:defRPr sz="2000"/>
            </a:lvl1pPr>
            <a:lvl2pPr marL="517525" indent="-179388">
              <a:defRPr sz="1800"/>
            </a:lvl2pPr>
            <a:lvl3pPr marL="860425" indent="-174625">
              <a:defRPr sz="1600"/>
            </a:lvl3pPr>
            <a:lvl4pPr marL="1203325" indent="-169863">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9"/>
          <p:cNvSpPr>
            <a:spLocks noGrp="1"/>
          </p:cNvSpPr>
          <p:nvPr>
            <p:ph type="body" sz="quarter" idx="15" hasCustomPrompt="1"/>
          </p:nvPr>
        </p:nvSpPr>
        <p:spPr bwMode="gray">
          <a:xfrm>
            <a:off x="891704" y="1185767"/>
            <a:ext cx="10690696"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8"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Tree>
    <p:extLst>
      <p:ext uri="{BB962C8B-B14F-4D97-AF65-F5344CB8AC3E}">
        <p14:creationId xmlns:p14="http://schemas.microsoft.com/office/powerpoint/2010/main" val="369193651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pos="55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a:p>
        </p:txBody>
      </p:sp>
      <p:sp>
        <p:nvSpPr>
          <p:cNvPr id="12"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21" name="Text Placeholder 9"/>
          <p:cNvSpPr>
            <a:spLocks noGrp="1"/>
          </p:cNvSpPr>
          <p:nvPr>
            <p:ph type="body" sz="quarter" idx="30"/>
          </p:nvPr>
        </p:nvSpPr>
        <p:spPr bwMode="gray">
          <a:xfrm>
            <a:off x="891704" y="1752599"/>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
        <p:nvSpPr>
          <p:cNvPr id="22" name="Content Placeholder 4"/>
          <p:cNvSpPr>
            <a:spLocks noGrp="1"/>
          </p:cNvSpPr>
          <p:nvPr>
            <p:ph sz="quarter" idx="35"/>
          </p:nvPr>
        </p:nvSpPr>
        <p:spPr bwMode="gray">
          <a:xfrm>
            <a:off x="892175" y="2298701"/>
            <a:ext cx="5212080" cy="3632200"/>
          </a:xfrm>
          <a:noFill/>
        </p:spPr>
        <p:txBody>
          <a:bodyPr/>
          <a:lstStyle>
            <a:lvl1pPr marL="228600" indent="-228600">
              <a:spcBef>
                <a:spcPts val="1600"/>
              </a:spcBef>
              <a:defRPr sz="1800"/>
            </a:lvl1pPr>
            <a:lvl2pPr marL="517525" indent="-179388">
              <a:spcBef>
                <a:spcPts val="800"/>
              </a:spcBef>
              <a:defRPr sz="1600"/>
            </a:lvl2pPr>
            <a:lvl3pPr marL="860425" indent="-174625">
              <a:spcBef>
                <a:spcPts val="400"/>
              </a:spcBef>
              <a:defRPr sz="1400"/>
            </a:lvl3pPr>
            <a:lvl4pPr marL="1203325" indent="-169863">
              <a:spcBef>
                <a:spcPts val="2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9"/>
          <p:cNvSpPr>
            <a:spLocks noGrp="1"/>
          </p:cNvSpPr>
          <p:nvPr>
            <p:ph type="body" sz="quarter" idx="32"/>
          </p:nvPr>
        </p:nvSpPr>
        <p:spPr bwMode="gray">
          <a:xfrm>
            <a:off x="6370789" y="1752599"/>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
        <p:nvSpPr>
          <p:cNvPr id="24" name="Content Placeholder 4"/>
          <p:cNvSpPr>
            <a:spLocks noGrp="1"/>
          </p:cNvSpPr>
          <p:nvPr>
            <p:ph sz="quarter" idx="36"/>
          </p:nvPr>
        </p:nvSpPr>
        <p:spPr bwMode="gray">
          <a:xfrm>
            <a:off x="6370320" y="2298701"/>
            <a:ext cx="5212080" cy="3632200"/>
          </a:xfrm>
          <a:noFill/>
        </p:spPr>
        <p:txBody>
          <a:bodyPr/>
          <a:lstStyle>
            <a:lvl1pPr marL="228600" indent="-228600">
              <a:spcBef>
                <a:spcPts val="1600"/>
              </a:spcBef>
              <a:defRPr sz="1800"/>
            </a:lvl1pPr>
            <a:lvl2pPr marL="517525" indent="-179388">
              <a:spcBef>
                <a:spcPts val="800"/>
              </a:spcBef>
              <a:defRPr sz="1600"/>
            </a:lvl2pPr>
            <a:lvl3pPr marL="860425" indent="-174625">
              <a:spcBef>
                <a:spcPts val="400"/>
              </a:spcBef>
              <a:defRPr sz="1400"/>
            </a:lvl3pPr>
            <a:lvl4pPr marL="1203325" indent="-169863">
              <a:spcBef>
                <a:spcPts val="2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Text Placeholder 9"/>
          <p:cNvSpPr>
            <a:spLocks noGrp="1"/>
          </p:cNvSpPr>
          <p:nvPr>
            <p:ph type="body" sz="quarter" idx="15" hasCustomPrompt="1"/>
          </p:nvPr>
        </p:nvSpPr>
        <p:spPr bwMode="gray">
          <a:xfrm>
            <a:off x="891704" y="1185767"/>
            <a:ext cx="10690696"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Tree>
    <p:extLst>
      <p:ext uri="{BB962C8B-B14F-4D97-AF65-F5344CB8AC3E}">
        <p14:creationId xmlns:p14="http://schemas.microsoft.com/office/powerpoint/2010/main" val="185937677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14" name="Content Placeholder 4"/>
          <p:cNvSpPr>
            <a:spLocks noGrp="1"/>
          </p:cNvSpPr>
          <p:nvPr>
            <p:ph sz="quarter" idx="36"/>
          </p:nvPr>
        </p:nvSpPr>
        <p:spPr bwMode="gray">
          <a:xfrm>
            <a:off x="6369851" y="2298701"/>
            <a:ext cx="5212080" cy="1499616"/>
          </a:xfrm>
          <a:noFill/>
        </p:spPr>
        <p:txBody>
          <a:bodyPr/>
          <a:lstStyle>
            <a:lvl1pPr marL="228600" indent="-228600">
              <a:spcBef>
                <a:spcPts val="800"/>
              </a:spcBef>
              <a:defRPr sz="1800"/>
            </a:lvl1pPr>
            <a:lvl2pPr marL="517525" indent="-179388">
              <a:spcBef>
                <a:spcPts val="400"/>
              </a:spcBef>
              <a:defRPr sz="1600"/>
            </a:lvl2pPr>
            <a:lvl3pPr marL="860425" indent="-174625">
              <a:spcBef>
                <a:spcPts val="200"/>
              </a:spcBef>
              <a:defRPr sz="1400"/>
            </a:lvl3pPr>
            <a:lvl4pPr marL="1203325" indent="-169863">
              <a:spcBef>
                <a:spcPts val="1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a:p>
        </p:txBody>
      </p:sp>
      <p:sp>
        <p:nvSpPr>
          <p:cNvPr id="11" name="Text Placeholder 9"/>
          <p:cNvSpPr>
            <a:spLocks noGrp="1"/>
          </p:cNvSpPr>
          <p:nvPr>
            <p:ph type="body" sz="quarter" idx="30"/>
          </p:nvPr>
        </p:nvSpPr>
        <p:spPr bwMode="gray">
          <a:xfrm>
            <a:off x="891704" y="1752599"/>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
        <p:nvSpPr>
          <p:cNvPr id="12" name="Text Placeholder 9"/>
          <p:cNvSpPr>
            <a:spLocks noGrp="1"/>
          </p:cNvSpPr>
          <p:nvPr>
            <p:ph type="body" sz="quarter" idx="32"/>
          </p:nvPr>
        </p:nvSpPr>
        <p:spPr bwMode="gray">
          <a:xfrm>
            <a:off x="6370320" y="1752599"/>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
        <p:nvSpPr>
          <p:cNvPr id="24" name="Text Placeholder 9"/>
          <p:cNvSpPr>
            <a:spLocks noGrp="1"/>
          </p:cNvSpPr>
          <p:nvPr>
            <p:ph type="body" sz="quarter" idx="15" hasCustomPrompt="1"/>
          </p:nvPr>
        </p:nvSpPr>
        <p:spPr bwMode="gray">
          <a:xfrm>
            <a:off x="891704" y="1185767"/>
            <a:ext cx="10690696"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10"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13" name="Content Placeholder 4"/>
          <p:cNvSpPr>
            <a:spLocks noGrp="1"/>
          </p:cNvSpPr>
          <p:nvPr>
            <p:ph sz="quarter" idx="35"/>
          </p:nvPr>
        </p:nvSpPr>
        <p:spPr bwMode="gray">
          <a:xfrm>
            <a:off x="892175" y="2298701"/>
            <a:ext cx="5212080" cy="3632200"/>
          </a:xfrm>
          <a:noFill/>
        </p:spPr>
        <p:txBody>
          <a:bodyPr/>
          <a:lstStyle>
            <a:lvl1pPr marL="228600" indent="-228600">
              <a:spcBef>
                <a:spcPts val="800"/>
              </a:spcBef>
              <a:defRPr sz="1800"/>
            </a:lvl1pPr>
            <a:lvl2pPr marL="517525" indent="-179388">
              <a:spcBef>
                <a:spcPts val="400"/>
              </a:spcBef>
              <a:defRPr sz="1600"/>
            </a:lvl2pPr>
            <a:lvl3pPr marL="860425" indent="-174625">
              <a:spcBef>
                <a:spcPts val="200"/>
              </a:spcBef>
              <a:defRPr sz="1400"/>
            </a:lvl3pPr>
            <a:lvl4pPr marL="1203325" indent="-169863">
              <a:spcBef>
                <a:spcPts val="1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4"/>
          <p:cNvSpPr>
            <a:spLocks noGrp="1"/>
          </p:cNvSpPr>
          <p:nvPr>
            <p:ph sz="quarter" idx="37"/>
          </p:nvPr>
        </p:nvSpPr>
        <p:spPr bwMode="gray">
          <a:xfrm>
            <a:off x="6369851" y="4433255"/>
            <a:ext cx="5212080" cy="1499616"/>
          </a:xfrm>
          <a:noFill/>
        </p:spPr>
        <p:txBody>
          <a:bodyPr/>
          <a:lstStyle>
            <a:lvl1pPr marL="228600" indent="-228600">
              <a:spcBef>
                <a:spcPts val="800"/>
              </a:spcBef>
              <a:defRPr sz="1800"/>
            </a:lvl1pPr>
            <a:lvl2pPr marL="517525" indent="-179388">
              <a:spcBef>
                <a:spcPts val="400"/>
              </a:spcBef>
              <a:defRPr sz="1600"/>
            </a:lvl2pPr>
            <a:lvl3pPr marL="860425" indent="-174625">
              <a:spcBef>
                <a:spcPts val="200"/>
              </a:spcBef>
              <a:defRPr sz="1400"/>
            </a:lvl3pPr>
            <a:lvl4pPr marL="1203325" indent="-169863">
              <a:spcBef>
                <a:spcPts val="1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9"/>
          <p:cNvSpPr>
            <a:spLocks noGrp="1"/>
          </p:cNvSpPr>
          <p:nvPr>
            <p:ph type="body" sz="quarter" idx="38"/>
          </p:nvPr>
        </p:nvSpPr>
        <p:spPr bwMode="gray">
          <a:xfrm>
            <a:off x="6370320" y="3887153"/>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Tree>
    <p:extLst>
      <p:ext uri="{BB962C8B-B14F-4D97-AF65-F5344CB8AC3E}">
        <p14:creationId xmlns:p14="http://schemas.microsoft.com/office/powerpoint/2010/main" val="381752025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a:p>
        </p:txBody>
      </p:sp>
      <p:sp>
        <p:nvSpPr>
          <p:cNvPr id="14"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17" name="Text Placeholder 9"/>
          <p:cNvSpPr>
            <a:spLocks noGrp="1"/>
          </p:cNvSpPr>
          <p:nvPr>
            <p:ph type="body" sz="quarter" idx="30"/>
          </p:nvPr>
        </p:nvSpPr>
        <p:spPr bwMode="gray">
          <a:xfrm>
            <a:off x="891704" y="1752599"/>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
        <p:nvSpPr>
          <p:cNvPr id="18" name="Text Placeholder 9"/>
          <p:cNvSpPr>
            <a:spLocks noGrp="1"/>
          </p:cNvSpPr>
          <p:nvPr>
            <p:ph type="body" sz="quarter" idx="32"/>
          </p:nvPr>
        </p:nvSpPr>
        <p:spPr bwMode="gray">
          <a:xfrm>
            <a:off x="6370789" y="1752599"/>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
        <p:nvSpPr>
          <p:cNvPr id="26" name="Text Placeholder 9"/>
          <p:cNvSpPr>
            <a:spLocks noGrp="1"/>
          </p:cNvSpPr>
          <p:nvPr>
            <p:ph type="body" sz="quarter" idx="15" hasCustomPrompt="1"/>
          </p:nvPr>
        </p:nvSpPr>
        <p:spPr bwMode="gray">
          <a:xfrm>
            <a:off x="891704" y="1185767"/>
            <a:ext cx="10690696"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11" name="Content Placeholder 4"/>
          <p:cNvSpPr>
            <a:spLocks noGrp="1"/>
          </p:cNvSpPr>
          <p:nvPr>
            <p:ph sz="quarter" idx="35"/>
          </p:nvPr>
        </p:nvSpPr>
        <p:spPr bwMode="gray">
          <a:xfrm>
            <a:off x="892175" y="2298701"/>
            <a:ext cx="5212080" cy="1499616"/>
          </a:xfrm>
          <a:noFill/>
        </p:spPr>
        <p:txBody>
          <a:bodyPr/>
          <a:lstStyle>
            <a:lvl1pPr marL="228600" indent="-228600">
              <a:spcBef>
                <a:spcPts val="800"/>
              </a:spcBef>
              <a:defRPr sz="1800"/>
            </a:lvl1pPr>
            <a:lvl2pPr marL="517525" indent="-179388">
              <a:spcBef>
                <a:spcPts val="400"/>
              </a:spcBef>
              <a:defRPr sz="1600"/>
            </a:lvl2pPr>
            <a:lvl3pPr marL="860425" indent="-174625">
              <a:spcBef>
                <a:spcPts val="200"/>
              </a:spcBef>
              <a:defRPr sz="1400"/>
            </a:lvl3pPr>
            <a:lvl4pPr marL="1203325" indent="-169863">
              <a:spcBef>
                <a:spcPts val="1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4"/>
          <p:cNvSpPr>
            <a:spLocks noGrp="1"/>
          </p:cNvSpPr>
          <p:nvPr>
            <p:ph sz="quarter" idx="37"/>
          </p:nvPr>
        </p:nvSpPr>
        <p:spPr bwMode="gray">
          <a:xfrm>
            <a:off x="6370320" y="2298701"/>
            <a:ext cx="5212080" cy="3632200"/>
          </a:xfrm>
          <a:noFill/>
        </p:spPr>
        <p:txBody>
          <a:bodyPr/>
          <a:lstStyle>
            <a:lvl1pPr marL="228600" indent="-228600">
              <a:spcBef>
                <a:spcPts val="800"/>
              </a:spcBef>
              <a:defRPr sz="1800"/>
            </a:lvl1pPr>
            <a:lvl2pPr marL="517525" indent="-179388">
              <a:spcBef>
                <a:spcPts val="400"/>
              </a:spcBef>
              <a:defRPr sz="1600"/>
            </a:lvl2pPr>
            <a:lvl3pPr marL="860425" indent="-174625">
              <a:spcBef>
                <a:spcPts val="200"/>
              </a:spcBef>
              <a:defRPr sz="1400"/>
            </a:lvl3pPr>
            <a:lvl4pPr marL="1203325" indent="-169863">
              <a:spcBef>
                <a:spcPts val="1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9"/>
          <p:cNvSpPr>
            <a:spLocks noGrp="1"/>
          </p:cNvSpPr>
          <p:nvPr>
            <p:ph type="body" sz="quarter" idx="38"/>
          </p:nvPr>
        </p:nvSpPr>
        <p:spPr bwMode="gray">
          <a:xfrm>
            <a:off x="891704" y="3886676"/>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
        <p:nvSpPr>
          <p:cNvPr id="15" name="Content Placeholder 4"/>
          <p:cNvSpPr>
            <a:spLocks noGrp="1"/>
          </p:cNvSpPr>
          <p:nvPr>
            <p:ph sz="quarter" idx="39"/>
          </p:nvPr>
        </p:nvSpPr>
        <p:spPr bwMode="gray">
          <a:xfrm>
            <a:off x="892175" y="4432778"/>
            <a:ext cx="5212080" cy="1499616"/>
          </a:xfrm>
          <a:noFill/>
        </p:spPr>
        <p:txBody>
          <a:bodyPr/>
          <a:lstStyle>
            <a:lvl1pPr marL="228600" indent="-228600">
              <a:spcBef>
                <a:spcPts val="800"/>
              </a:spcBef>
              <a:defRPr sz="1800"/>
            </a:lvl1pPr>
            <a:lvl2pPr marL="517525" indent="-179388">
              <a:spcBef>
                <a:spcPts val="400"/>
              </a:spcBef>
              <a:defRPr sz="1600"/>
            </a:lvl2pPr>
            <a:lvl3pPr marL="860425" indent="-174625">
              <a:spcBef>
                <a:spcPts val="200"/>
              </a:spcBef>
              <a:defRPr sz="1400"/>
            </a:lvl3pPr>
            <a:lvl4pPr marL="1203325" indent="-169863">
              <a:spcBef>
                <a:spcPts val="1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884978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a:p>
        </p:txBody>
      </p:sp>
      <p:sp>
        <p:nvSpPr>
          <p:cNvPr id="16" name="Text Placeholder 12"/>
          <p:cNvSpPr>
            <a:spLocks noGrp="1"/>
          </p:cNvSpPr>
          <p:nvPr>
            <p:ph type="body" sz="quarter" idx="16" hasCustomPrompt="1"/>
          </p:nvPr>
        </p:nvSpPr>
        <p:spPr bwMode="gray">
          <a:xfrm>
            <a:off x="891704" y="6252482"/>
            <a:ext cx="8956240" cy="415018"/>
          </a:xfrm>
          <a:prstGeom prst="rect">
            <a:avLst/>
          </a:prstGeom>
        </p:spPr>
        <p:txBody>
          <a:bodyPr lIns="91440" tIns="0" rIns="0" bIns="0" anchor="b" anchorCtr="0">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23" name="Text Placeholder 9"/>
          <p:cNvSpPr>
            <a:spLocks noGrp="1"/>
          </p:cNvSpPr>
          <p:nvPr>
            <p:ph type="body" sz="quarter" idx="15" hasCustomPrompt="1"/>
          </p:nvPr>
        </p:nvSpPr>
        <p:spPr bwMode="gray">
          <a:xfrm>
            <a:off x="891704" y="1185767"/>
            <a:ext cx="10690696" cy="383292"/>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13" name="Text Placeholder 9"/>
          <p:cNvSpPr>
            <a:spLocks noGrp="1"/>
          </p:cNvSpPr>
          <p:nvPr>
            <p:ph type="body" sz="quarter" idx="30"/>
          </p:nvPr>
        </p:nvSpPr>
        <p:spPr bwMode="gray">
          <a:xfrm>
            <a:off x="891704" y="1752599"/>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
        <p:nvSpPr>
          <p:cNvPr id="14" name="Content Placeholder 4"/>
          <p:cNvSpPr>
            <a:spLocks noGrp="1"/>
          </p:cNvSpPr>
          <p:nvPr>
            <p:ph sz="quarter" idx="35"/>
          </p:nvPr>
        </p:nvSpPr>
        <p:spPr bwMode="gray">
          <a:xfrm>
            <a:off x="892175" y="2298701"/>
            <a:ext cx="5212080" cy="1499616"/>
          </a:xfrm>
          <a:noFill/>
        </p:spPr>
        <p:txBody>
          <a:bodyPr/>
          <a:lstStyle>
            <a:lvl1pPr marL="228600" indent="-228600">
              <a:spcBef>
                <a:spcPts val="800"/>
              </a:spcBef>
              <a:defRPr sz="1800"/>
            </a:lvl1pPr>
            <a:lvl2pPr marL="517525" indent="-179388">
              <a:spcBef>
                <a:spcPts val="400"/>
              </a:spcBef>
              <a:defRPr sz="1600"/>
            </a:lvl2pPr>
            <a:lvl3pPr marL="860425" indent="-174625">
              <a:spcBef>
                <a:spcPts val="200"/>
              </a:spcBef>
              <a:defRPr sz="1400"/>
            </a:lvl3pPr>
            <a:lvl4pPr marL="1203325" indent="-169863">
              <a:spcBef>
                <a:spcPts val="1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9"/>
          <p:cNvSpPr>
            <a:spLocks noGrp="1"/>
          </p:cNvSpPr>
          <p:nvPr>
            <p:ph type="body" sz="quarter" idx="38"/>
          </p:nvPr>
        </p:nvSpPr>
        <p:spPr bwMode="gray">
          <a:xfrm>
            <a:off x="891704" y="3886676"/>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
        <p:nvSpPr>
          <p:cNvPr id="22" name="Content Placeholder 4"/>
          <p:cNvSpPr>
            <a:spLocks noGrp="1"/>
          </p:cNvSpPr>
          <p:nvPr>
            <p:ph sz="quarter" idx="39"/>
          </p:nvPr>
        </p:nvSpPr>
        <p:spPr bwMode="gray">
          <a:xfrm>
            <a:off x="892175" y="4432778"/>
            <a:ext cx="5212080" cy="1499616"/>
          </a:xfrm>
          <a:noFill/>
        </p:spPr>
        <p:txBody>
          <a:bodyPr/>
          <a:lstStyle>
            <a:lvl1pPr marL="228600" indent="-228600">
              <a:spcBef>
                <a:spcPts val="800"/>
              </a:spcBef>
              <a:defRPr sz="1800"/>
            </a:lvl1pPr>
            <a:lvl2pPr marL="517525" indent="-179388">
              <a:spcBef>
                <a:spcPts val="400"/>
              </a:spcBef>
              <a:defRPr sz="1600"/>
            </a:lvl2pPr>
            <a:lvl3pPr marL="860425" indent="-174625">
              <a:spcBef>
                <a:spcPts val="200"/>
              </a:spcBef>
              <a:defRPr sz="1400"/>
            </a:lvl3pPr>
            <a:lvl4pPr marL="1203325" indent="-169863">
              <a:spcBef>
                <a:spcPts val="1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Content Placeholder 4"/>
          <p:cNvSpPr>
            <a:spLocks noGrp="1"/>
          </p:cNvSpPr>
          <p:nvPr>
            <p:ph sz="quarter" idx="36"/>
          </p:nvPr>
        </p:nvSpPr>
        <p:spPr bwMode="gray">
          <a:xfrm>
            <a:off x="6369851" y="2298701"/>
            <a:ext cx="5212080" cy="1499616"/>
          </a:xfrm>
          <a:noFill/>
        </p:spPr>
        <p:txBody>
          <a:bodyPr/>
          <a:lstStyle>
            <a:lvl1pPr marL="228600" indent="-228600">
              <a:spcBef>
                <a:spcPts val="800"/>
              </a:spcBef>
              <a:defRPr sz="1800"/>
            </a:lvl1pPr>
            <a:lvl2pPr marL="517525" indent="-179388">
              <a:spcBef>
                <a:spcPts val="400"/>
              </a:spcBef>
              <a:defRPr sz="1600"/>
            </a:lvl2pPr>
            <a:lvl3pPr marL="860425" indent="-174625">
              <a:spcBef>
                <a:spcPts val="200"/>
              </a:spcBef>
              <a:defRPr sz="1400"/>
            </a:lvl3pPr>
            <a:lvl4pPr marL="1203325" indent="-169863">
              <a:spcBef>
                <a:spcPts val="1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Text Placeholder 9"/>
          <p:cNvSpPr>
            <a:spLocks noGrp="1"/>
          </p:cNvSpPr>
          <p:nvPr>
            <p:ph type="body" sz="quarter" idx="32"/>
          </p:nvPr>
        </p:nvSpPr>
        <p:spPr bwMode="gray">
          <a:xfrm>
            <a:off x="6370320" y="1752599"/>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
        <p:nvSpPr>
          <p:cNvPr id="26" name="Content Placeholder 4"/>
          <p:cNvSpPr>
            <a:spLocks noGrp="1"/>
          </p:cNvSpPr>
          <p:nvPr>
            <p:ph sz="quarter" idx="37"/>
          </p:nvPr>
        </p:nvSpPr>
        <p:spPr bwMode="gray">
          <a:xfrm>
            <a:off x="6369851" y="4433255"/>
            <a:ext cx="5212080" cy="1499616"/>
          </a:xfrm>
          <a:noFill/>
        </p:spPr>
        <p:txBody>
          <a:bodyPr/>
          <a:lstStyle>
            <a:lvl1pPr marL="228600" indent="-228600">
              <a:spcBef>
                <a:spcPts val="800"/>
              </a:spcBef>
              <a:defRPr sz="1800"/>
            </a:lvl1pPr>
            <a:lvl2pPr marL="517525" indent="-179388">
              <a:spcBef>
                <a:spcPts val="400"/>
              </a:spcBef>
              <a:defRPr sz="1600"/>
            </a:lvl2pPr>
            <a:lvl3pPr marL="860425" indent="-174625">
              <a:spcBef>
                <a:spcPts val="200"/>
              </a:spcBef>
              <a:defRPr sz="1400"/>
            </a:lvl3pPr>
            <a:lvl4pPr marL="1203325" indent="-169863">
              <a:spcBef>
                <a:spcPts val="100"/>
              </a:spcBef>
              <a:defRPr sz="1200"/>
            </a:lvl4pPr>
            <a:lvl5pPr>
              <a:spcBef>
                <a:spcPts val="100"/>
              </a:spcBef>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7" name="Text Placeholder 9"/>
          <p:cNvSpPr>
            <a:spLocks noGrp="1"/>
          </p:cNvSpPr>
          <p:nvPr>
            <p:ph type="body" sz="quarter" idx="40"/>
          </p:nvPr>
        </p:nvSpPr>
        <p:spPr bwMode="gray">
          <a:xfrm>
            <a:off x="6370320" y="3887153"/>
            <a:ext cx="5212080" cy="498617"/>
          </a:xfrm>
          <a:prstGeom prst="rect">
            <a:avLst/>
          </a:prstGeom>
          <a:solidFill>
            <a:schemeClr val="accent1"/>
          </a:solidFill>
          <a:ln>
            <a:noFill/>
          </a:ln>
          <a:effectLst/>
        </p:spPr>
        <p:txBody>
          <a:bodyPr anchor="ctr" anchorCtr="0">
            <a:noAutofit/>
          </a:bodyPr>
          <a:lstStyle>
            <a:lvl1pPr marL="0" indent="0" algn="ctr">
              <a:spcBef>
                <a:spcPts val="0"/>
              </a:spcBef>
              <a:buFontTx/>
              <a:buNone/>
              <a:defRPr sz="2000" b="1">
                <a:solidFill>
                  <a:schemeClr val="bg1"/>
                </a:solidFill>
                <a:latin typeface="+mj-lt"/>
              </a:defRPr>
            </a:lvl1pPr>
          </a:lstStyle>
          <a:p>
            <a:pPr lvl="0"/>
            <a:r>
              <a:rPr lang="en-US" smtClean="0"/>
              <a:t>Click to edit Master text styles</a:t>
            </a:r>
          </a:p>
        </p:txBody>
      </p:sp>
    </p:spTree>
    <p:extLst>
      <p:ext uri="{BB962C8B-B14F-4D97-AF65-F5344CB8AC3E}">
        <p14:creationId xmlns:p14="http://schemas.microsoft.com/office/powerpoint/2010/main" val="227159308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18.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1.jpeg"/><Relationship Id="rId2" Type="http://schemas.openxmlformats.org/officeDocument/2006/relationships/slideLayout" Target="../slideLayouts/slideLayout17.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6.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image" Target="../media/image4.emf"/><Relationship Id="rId5" Type="http://schemas.openxmlformats.org/officeDocument/2006/relationships/theme" Target="../theme/theme2.x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19.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3" Type="http://schemas.openxmlformats.org/officeDocument/2006/relationships/slideLayout" Target="../slideLayouts/slideLayout22.xml"/><Relationship Id="rId21" Type="http://schemas.openxmlformats.org/officeDocument/2006/relationships/tags" Target="../tags/tag33.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image" Target="../media/image1.jpeg"/><Relationship Id="rId2" Type="http://schemas.openxmlformats.org/officeDocument/2006/relationships/slideLayout" Target="../slideLayouts/slideLayout21.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slideLayout" Target="../slideLayouts/slideLayout20.xml"/><Relationship Id="rId6" Type="http://schemas.openxmlformats.org/officeDocument/2006/relationships/vmlDrawing" Target="../drawings/vmlDrawing3.vml"/><Relationship Id="rId11" Type="http://schemas.openxmlformats.org/officeDocument/2006/relationships/tags" Target="../tags/tag23.xml"/><Relationship Id="rId24" Type="http://schemas.openxmlformats.org/officeDocument/2006/relationships/image" Target="../media/image4.emf"/><Relationship Id="rId5" Type="http://schemas.openxmlformats.org/officeDocument/2006/relationships/theme" Target="../theme/theme3.xml"/><Relationship Id="rId15" Type="http://schemas.openxmlformats.org/officeDocument/2006/relationships/tags" Target="../tags/tag27.xml"/><Relationship Id="rId23" Type="http://schemas.openxmlformats.org/officeDocument/2006/relationships/oleObject" Target="../embeddings/oleObject3.bin"/><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slideLayout" Target="../slideLayouts/slideLayout23.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 name="Picture Placeholder 6"/>
          <p:cNvPicPr>
            <a:picLocks noChangeAspect="1"/>
          </p:cNvPicPr>
          <p:nvPr userDrawn="1"/>
        </p:nvPicPr>
        <p:blipFill rotWithShape="1">
          <a:blip r:embed="rId17" cstate="screen">
            <a:extLst>
              <a:ext uri="{28A0092B-C50C-407E-A947-70E740481C1C}">
                <a14:useLocalDpi xmlns:a14="http://schemas.microsoft.com/office/drawing/2010/main"/>
              </a:ext>
            </a:extLst>
          </a:blip>
          <a:srcRect/>
          <a:stretch/>
        </p:blipFill>
        <p:spPr bwMode="gray">
          <a:xfrm>
            <a:off x="1" y="0"/>
            <a:ext cx="457200" cy="6858000"/>
          </a:xfrm>
          <a:prstGeom prst="rect">
            <a:avLst/>
          </a:prstGeom>
        </p:spPr>
      </p:pic>
      <p:sp>
        <p:nvSpPr>
          <p:cNvPr id="10" name="Slide Number Placeholder 5"/>
          <p:cNvSpPr txBox="1">
            <a:spLocks/>
          </p:cNvSpPr>
          <p:nvPr userDrawn="1"/>
        </p:nvSpPr>
        <p:spPr bwMode="gray">
          <a:xfrm>
            <a:off x="11402848" y="6545231"/>
            <a:ext cx="584200" cy="120184"/>
          </a:xfrm>
          <a:prstGeom prst="rect">
            <a:avLst/>
          </a:prstGeom>
        </p:spPr>
        <p:txBody>
          <a:bodyPr wrap="non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tx1"/>
                </a:solidFill>
              </a:rPr>
              <a:pPr/>
              <a:t>‹#›</a:t>
            </a:fld>
            <a:endParaRPr lang="en-US" sz="800" dirty="0">
              <a:solidFill>
                <a:schemeClr val="tx1"/>
              </a:solidFill>
            </a:endParaRPr>
          </a:p>
        </p:txBody>
      </p:sp>
      <p:sp>
        <p:nvSpPr>
          <p:cNvPr id="2" name="Title Placeholder 1"/>
          <p:cNvSpPr>
            <a:spLocks noGrp="1"/>
          </p:cNvSpPr>
          <p:nvPr>
            <p:ph type="title"/>
          </p:nvPr>
        </p:nvSpPr>
        <p:spPr bwMode="gray">
          <a:xfrm>
            <a:off x="891705" y="0"/>
            <a:ext cx="10690696" cy="1114661"/>
          </a:xfrm>
          <a:prstGeom prst="rect">
            <a:avLst/>
          </a:prstGeom>
        </p:spPr>
        <p:txBody>
          <a:bodyPr vert="horz" lIns="91440" tIns="45720" rIns="91440" bIns="4572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891705" y="1752600"/>
            <a:ext cx="10614675" cy="417271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3"/>
          <p:cNvSpPr/>
          <p:nvPr userDrawn="1"/>
        </p:nvSpPr>
        <p:spPr bwMode="gray">
          <a:xfrm>
            <a:off x="457201" y="0"/>
            <a:ext cx="11887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p:cNvSpPr>
            <a:spLocks noEditPoints="1"/>
          </p:cNvSpPr>
          <p:nvPr userDrawn="1"/>
        </p:nvSpPr>
        <p:spPr bwMode="gray">
          <a:xfrm>
            <a:off x="10718157" y="6343650"/>
            <a:ext cx="860634" cy="309562"/>
          </a:xfrm>
          <a:custGeom>
            <a:avLst/>
            <a:gdLst>
              <a:gd name="T0" fmla="*/ 2400 w 2814"/>
              <a:gd name="T1" fmla="*/ 18 h 1010"/>
              <a:gd name="T2" fmla="*/ 2124 w 2814"/>
              <a:gd name="T3" fmla="*/ 18 h 1010"/>
              <a:gd name="T4" fmla="*/ 1799 w 2814"/>
              <a:gd name="T5" fmla="*/ 783 h 1010"/>
              <a:gd name="T6" fmla="*/ 1799 w 2814"/>
              <a:gd name="T7" fmla="*/ 414 h 1010"/>
              <a:gd name="T8" fmla="*/ 1273 w 2814"/>
              <a:gd name="T9" fmla="*/ 414 h 1010"/>
              <a:gd name="T10" fmla="*/ 1273 w 2814"/>
              <a:gd name="T11" fmla="*/ 630 h 1010"/>
              <a:gd name="T12" fmla="*/ 1536 w 2814"/>
              <a:gd name="T13" fmla="*/ 630 h 1010"/>
              <a:gd name="T14" fmla="*/ 1309 w 2814"/>
              <a:gd name="T15" fmla="*/ 764 h 1010"/>
              <a:gd name="T16" fmla="*/ 1050 w 2814"/>
              <a:gd name="T17" fmla="*/ 504 h 1010"/>
              <a:gd name="T18" fmla="*/ 1309 w 2814"/>
              <a:gd name="T19" fmla="*/ 245 h 1010"/>
              <a:gd name="T20" fmla="*/ 1521 w 2814"/>
              <a:gd name="T21" fmla="*/ 355 h 1010"/>
              <a:gd name="T22" fmla="*/ 1679 w 2814"/>
              <a:gd name="T23" fmla="*/ 163 h 1010"/>
              <a:gd name="T24" fmla="*/ 1309 w 2814"/>
              <a:gd name="T25" fmla="*/ 0 h 1010"/>
              <a:gd name="T26" fmla="*/ 857 w 2814"/>
              <a:gd name="T27" fmla="*/ 282 h 1010"/>
              <a:gd name="T28" fmla="*/ 776 w 2814"/>
              <a:gd name="T29" fmla="*/ 126 h 1010"/>
              <a:gd name="T30" fmla="*/ 461 w 2814"/>
              <a:gd name="T31" fmla="*/ 20 h 1010"/>
              <a:gd name="T32" fmla="*/ 0 w 2814"/>
              <a:gd name="T33" fmla="*/ 20 h 1010"/>
              <a:gd name="T34" fmla="*/ 0 w 2814"/>
              <a:gd name="T35" fmla="*/ 990 h 1010"/>
              <a:gd name="T36" fmla="*/ 287 w 2814"/>
              <a:gd name="T37" fmla="*/ 990 h 1010"/>
              <a:gd name="T38" fmla="*/ 287 w 2814"/>
              <a:gd name="T39" fmla="*/ 678 h 1010"/>
              <a:gd name="T40" fmla="*/ 585 w 2814"/>
              <a:gd name="T41" fmla="*/ 990 h 1010"/>
              <a:gd name="T42" fmla="*/ 935 w 2814"/>
              <a:gd name="T43" fmla="*/ 990 h 1010"/>
              <a:gd name="T44" fmla="*/ 646 w 2814"/>
              <a:gd name="T45" fmla="*/ 688 h 1010"/>
              <a:gd name="T46" fmla="*/ 776 w 2814"/>
              <a:gd name="T47" fmla="*/ 612 h 1010"/>
              <a:gd name="T48" fmla="*/ 810 w 2814"/>
              <a:gd name="T49" fmla="*/ 572 h 1010"/>
              <a:gd name="T50" fmla="*/ 1309 w 2814"/>
              <a:gd name="T51" fmla="*/ 1010 h 1010"/>
              <a:gd name="T52" fmla="*/ 1583 w 2814"/>
              <a:gd name="T53" fmla="*/ 928 h 1010"/>
              <a:gd name="T54" fmla="*/ 1583 w 2814"/>
              <a:gd name="T55" fmla="*/ 990 h 1010"/>
              <a:gd name="T56" fmla="*/ 2021 w 2814"/>
              <a:gd name="T57" fmla="*/ 990 h 1010"/>
              <a:gd name="T58" fmla="*/ 2081 w 2814"/>
              <a:gd name="T59" fmla="*/ 848 h 1010"/>
              <a:gd name="T60" fmla="*/ 2443 w 2814"/>
              <a:gd name="T61" fmla="*/ 848 h 1010"/>
              <a:gd name="T62" fmla="*/ 2504 w 2814"/>
              <a:gd name="T63" fmla="*/ 990 h 1010"/>
              <a:gd name="T64" fmla="*/ 2814 w 2814"/>
              <a:gd name="T65" fmla="*/ 990 h 1010"/>
              <a:gd name="T66" fmla="*/ 2400 w 2814"/>
              <a:gd name="T67" fmla="*/ 18 h 1010"/>
              <a:gd name="T68" fmla="*/ 574 w 2814"/>
              <a:gd name="T69" fmla="*/ 365 h 1010"/>
              <a:gd name="T70" fmla="*/ 447 w 2814"/>
              <a:gd name="T71" fmla="*/ 463 h 1010"/>
              <a:gd name="T72" fmla="*/ 287 w 2814"/>
              <a:gd name="T73" fmla="*/ 463 h 1010"/>
              <a:gd name="T74" fmla="*/ 287 w 2814"/>
              <a:gd name="T75" fmla="*/ 264 h 1010"/>
              <a:gd name="T76" fmla="*/ 446 w 2814"/>
              <a:gd name="T77" fmla="*/ 264 h 1010"/>
              <a:gd name="T78" fmla="*/ 574 w 2814"/>
              <a:gd name="T79" fmla="*/ 362 h 1010"/>
              <a:gd name="T80" fmla="*/ 574 w 2814"/>
              <a:gd name="T81" fmla="*/ 365 h 1010"/>
              <a:gd name="T82" fmla="*/ 2166 w 2814"/>
              <a:gd name="T83" fmla="*/ 629 h 1010"/>
              <a:gd name="T84" fmla="*/ 2262 w 2814"/>
              <a:gd name="T85" fmla="*/ 386 h 1010"/>
              <a:gd name="T86" fmla="*/ 2361 w 2814"/>
              <a:gd name="T87" fmla="*/ 629 h 1010"/>
              <a:gd name="T88" fmla="*/ 2166 w 2814"/>
              <a:gd name="T89" fmla="*/ 629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14" h="1010">
                <a:moveTo>
                  <a:pt x="2400" y="18"/>
                </a:moveTo>
                <a:cubicBezTo>
                  <a:pt x="2124" y="18"/>
                  <a:pt x="2124" y="18"/>
                  <a:pt x="2124" y="18"/>
                </a:cubicBezTo>
                <a:cubicBezTo>
                  <a:pt x="1799" y="783"/>
                  <a:pt x="1799" y="783"/>
                  <a:pt x="1799" y="783"/>
                </a:cubicBezTo>
                <a:cubicBezTo>
                  <a:pt x="1799" y="414"/>
                  <a:pt x="1799" y="414"/>
                  <a:pt x="1799" y="414"/>
                </a:cubicBezTo>
                <a:cubicBezTo>
                  <a:pt x="1273" y="414"/>
                  <a:pt x="1273" y="414"/>
                  <a:pt x="1273" y="414"/>
                </a:cubicBezTo>
                <a:cubicBezTo>
                  <a:pt x="1273" y="630"/>
                  <a:pt x="1273" y="630"/>
                  <a:pt x="1273" y="630"/>
                </a:cubicBezTo>
                <a:cubicBezTo>
                  <a:pt x="1536" y="630"/>
                  <a:pt x="1536" y="630"/>
                  <a:pt x="1536" y="630"/>
                </a:cubicBezTo>
                <a:cubicBezTo>
                  <a:pt x="1492" y="710"/>
                  <a:pt x="1407" y="764"/>
                  <a:pt x="1309" y="764"/>
                </a:cubicBezTo>
                <a:cubicBezTo>
                  <a:pt x="1166" y="764"/>
                  <a:pt x="1050" y="648"/>
                  <a:pt x="1050" y="504"/>
                </a:cubicBezTo>
                <a:cubicBezTo>
                  <a:pt x="1050" y="361"/>
                  <a:pt x="1166" y="245"/>
                  <a:pt x="1309" y="245"/>
                </a:cubicBezTo>
                <a:cubicBezTo>
                  <a:pt x="1396" y="245"/>
                  <a:pt x="1474" y="289"/>
                  <a:pt x="1521" y="355"/>
                </a:cubicBezTo>
                <a:cubicBezTo>
                  <a:pt x="1679" y="163"/>
                  <a:pt x="1679" y="163"/>
                  <a:pt x="1679" y="163"/>
                </a:cubicBezTo>
                <a:cubicBezTo>
                  <a:pt x="1587" y="63"/>
                  <a:pt x="1455" y="0"/>
                  <a:pt x="1309" y="0"/>
                </a:cubicBezTo>
                <a:cubicBezTo>
                  <a:pt x="1110" y="0"/>
                  <a:pt x="939" y="115"/>
                  <a:pt x="857" y="282"/>
                </a:cubicBezTo>
                <a:cubicBezTo>
                  <a:pt x="845" y="220"/>
                  <a:pt x="818" y="168"/>
                  <a:pt x="776" y="126"/>
                </a:cubicBezTo>
                <a:cubicBezTo>
                  <a:pt x="707" y="56"/>
                  <a:pt x="601" y="21"/>
                  <a:pt x="461" y="20"/>
                </a:cubicBezTo>
                <a:cubicBezTo>
                  <a:pt x="0" y="20"/>
                  <a:pt x="0" y="20"/>
                  <a:pt x="0" y="20"/>
                </a:cubicBezTo>
                <a:cubicBezTo>
                  <a:pt x="0" y="990"/>
                  <a:pt x="0" y="990"/>
                  <a:pt x="0" y="990"/>
                </a:cubicBezTo>
                <a:cubicBezTo>
                  <a:pt x="287" y="990"/>
                  <a:pt x="287" y="990"/>
                  <a:pt x="287" y="990"/>
                </a:cubicBezTo>
                <a:cubicBezTo>
                  <a:pt x="287" y="678"/>
                  <a:pt x="287" y="678"/>
                  <a:pt x="287" y="678"/>
                </a:cubicBezTo>
                <a:cubicBezTo>
                  <a:pt x="585" y="990"/>
                  <a:pt x="585" y="990"/>
                  <a:pt x="585" y="990"/>
                </a:cubicBezTo>
                <a:cubicBezTo>
                  <a:pt x="935" y="990"/>
                  <a:pt x="935" y="990"/>
                  <a:pt x="935" y="990"/>
                </a:cubicBezTo>
                <a:cubicBezTo>
                  <a:pt x="646" y="688"/>
                  <a:pt x="646" y="688"/>
                  <a:pt x="646" y="688"/>
                </a:cubicBezTo>
                <a:cubicBezTo>
                  <a:pt x="695" y="670"/>
                  <a:pt x="743" y="645"/>
                  <a:pt x="776" y="612"/>
                </a:cubicBezTo>
                <a:cubicBezTo>
                  <a:pt x="788" y="599"/>
                  <a:pt x="800" y="586"/>
                  <a:pt x="810" y="572"/>
                </a:cubicBezTo>
                <a:cubicBezTo>
                  <a:pt x="842" y="819"/>
                  <a:pt x="1053" y="1010"/>
                  <a:pt x="1309" y="1010"/>
                </a:cubicBezTo>
                <a:cubicBezTo>
                  <a:pt x="1410" y="1010"/>
                  <a:pt x="1504" y="980"/>
                  <a:pt x="1583" y="928"/>
                </a:cubicBezTo>
                <a:cubicBezTo>
                  <a:pt x="1583" y="990"/>
                  <a:pt x="1583" y="990"/>
                  <a:pt x="1583" y="990"/>
                </a:cubicBezTo>
                <a:cubicBezTo>
                  <a:pt x="2021" y="990"/>
                  <a:pt x="2021" y="990"/>
                  <a:pt x="2021" y="990"/>
                </a:cubicBezTo>
                <a:cubicBezTo>
                  <a:pt x="2081" y="848"/>
                  <a:pt x="2081" y="848"/>
                  <a:pt x="2081" y="848"/>
                </a:cubicBezTo>
                <a:cubicBezTo>
                  <a:pt x="2443" y="848"/>
                  <a:pt x="2443" y="848"/>
                  <a:pt x="2443" y="848"/>
                </a:cubicBezTo>
                <a:cubicBezTo>
                  <a:pt x="2504" y="990"/>
                  <a:pt x="2504" y="990"/>
                  <a:pt x="2504" y="990"/>
                </a:cubicBezTo>
                <a:cubicBezTo>
                  <a:pt x="2814" y="990"/>
                  <a:pt x="2814" y="990"/>
                  <a:pt x="2814" y="990"/>
                </a:cubicBezTo>
                <a:lnTo>
                  <a:pt x="2400" y="18"/>
                </a:lnTo>
                <a:close/>
                <a:moveTo>
                  <a:pt x="574" y="365"/>
                </a:moveTo>
                <a:cubicBezTo>
                  <a:pt x="574" y="427"/>
                  <a:pt x="528" y="463"/>
                  <a:pt x="447" y="463"/>
                </a:cubicBezTo>
                <a:cubicBezTo>
                  <a:pt x="287" y="463"/>
                  <a:pt x="287" y="463"/>
                  <a:pt x="287" y="463"/>
                </a:cubicBezTo>
                <a:cubicBezTo>
                  <a:pt x="287" y="264"/>
                  <a:pt x="287" y="264"/>
                  <a:pt x="287" y="264"/>
                </a:cubicBezTo>
                <a:cubicBezTo>
                  <a:pt x="446" y="264"/>
                  <a:pt x="446" y="264"/>
                  <a:pt x="446" y="264"/>
                </a:cubicBezTo>
                <a:cubicBezTo>
                  <a:pt x="504" y="264"/>
                  <a:pt x="574" y="281"/>
                  <a:pt x="574" y="362"/>
                </a:cubicBezTo>
                <a:lnTo>
                  <a:pt x="574" y="365"/>
                </a:lnTo>
                <a:close/>
                <a:moveTo>
                  <a:pt x="2166" y="629"/>
                </a:moveTo>
                <a:cubicBezTo>
                  <a:pt x="2262" y="386"/>
                  <a:pt x="2262" y="386"/>
                  <a:pt x="2262" y="386"/>
                </a:cubicBezTo>
                <a:cubicBezTo>
                  <a:pt x="2361" y="629"/>
                  <a:pt x="2361" y="629"/>
                  <a:pt x="2361" y="629"/>
                </a:cubicBezTo>
                <a:lnTo>
                  <a:pt x="2166" y="6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TextBox 18"/>
          <p:cNvSpPr txBox="1"/>
          <p:nvPr userDrawn="1"/>
        </p:nvSpPr>
        <p:spPr bwMode="gray">
          <a:xfrm>
            <a:off x="-1689099" y="0"/>
            <a:ext cx="1570228" cy="600164"/>
          </a:xfrm>
          <a:prstGeom prst="rect">
            <a:avLst/>
          </a:prstGeom>
          <a:solidFill>
            <a:schemeClr val="tx2"/>
          </a:solidFill>
        </p:spPr>
        <p:txBody>
          <a:bodyPr wrap="square" rtlCol="0">
            <a:spAutoFit/>
          </a:bodyPr>
          <a:lstStyle/>
          <a:p>
            <a:r>
              <a:rPr lang="en-US" sz="1100" b="0" dirty="0" smtClean="0">
                <a:solidFill>
                  <a:schemeClr val="bg1"/>
                </a:solidFill>
              </a:rPr>
              <a:t>See Appendix for instructions</a:t>
            </a:r>
            <a:r>
              <a:rPr lang="en-US" sz="1100" b="0" baseline="0" dirty="0" smtClean="0">
                <a:solidFill>
                  <a:schemeClr val="bg1"/>
                </a:solidFill>
              </a:rPr>
              <a:t> on how to change sidebar photo</a:t>
            </a:r>
            <a:endParaRPr lang="en-US" sz="1100" b="0" dirty="0" smtClean="0">
              <a:solidFill>
                <a:schemeClr val="bg1"/>
              </a:solidFill>
            </a:endParaRPr>
          </a:p>
        </p:txBody>
      </p:sp>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4" r:id="rId3"/>
    <p:sldLayoutId id="2147483650" r:id="rId4"/>
    <p:sldLayoutId id="2147483655" r:id="rId5"/>
    <p:sldLayoutId id="2147483656" r:id="rId6"/>
    <p:sldLayoutId id="2147483658" r:id="rId7"/>
    <p:sldLayoutId id="2147483659" r:id="rId8"/>
    <p:sldLayoutId id="2147483657" r:id="rId9"/>
    <p:sldLayoutId id="2147483664" r:id="rId10"/>
    <p:sldLayoutId id="2147483665" r:id="rId11"/>
    <p:sldLayoutId id="2147483666" r:id="rId12"/>
    <p:sldLayoutId id="2147483667" r:id="rId13"/>
    <p:sldLayoutId id="2147483671" r:id="rId14"/>
    <p:sldLayoutId id="2147483682" r:id="rId15"/>
  </p:sldLayoutIdLst>
  <p:timing>
    <p:tnLst>
      <p:par>
        <p:cTn id="1" dur="indefinite" restart="never" nodeType="tmRoot"/>
      </p:par>
    </p:tnLst>
  </p:timing>
  <p:txStyles>
    <p:titleStyle>
      <a:lvl1pPr algn="l" defTabSz="914400" rtl="0" eaLnBrk="1" latinLnBrk="0" hangingPunct="1">
        <a:lnSpc>
          <a:spcPct val="90000"/>
        </a:lnSpc>
        <a:spcBef>
          <a:spcPts val="600"/>
        </a:spcBef>
        <a:buNone/>
        <a:defRPr sz="3200" b="1" kern="1200">
          <a:solidFill>
            <a:schemeClr val="accent1"/>
          </a:solidFill>
          <a:latin typeface="+mj-lt"/>
          <a:ea typeface="+mj-ea"/>
          <a:cs typeface="+mj-cs"/>
        </a:defRPr>
      </a:lvl1pPr>
    </p:titleStyle>
    <p:bodyStyle>
      <a:lvl1pPr marL="292608" indent="-292608" algn="l" defTabSz="914400" rtl="0" eaLnBrk="1" latinLnBrk="0" hangingPunct="1">
        <a:lnSpc>
          <a:spcPct val="90000"/>
        </a:lnSpc>
        <a:spcBef>
          <a:spcPts val="2000"/>
        </a:spcBef>
        <a:buClr>
          <a:schemeClr val="accent1"/>
        </a:buClr>
        <a:buSzPct val="100000"/>
        <a:buFont typeface="Wingdings" panose="05000000000000000000" pitchFamily="2" charset="2"/>
        <a:buChar char="§"/>
        <a:defRPr sz="24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chemeClr val="accent1"/>
        </a:buClr>
        <a:buSzPct val="110000"/>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chemeClr val="accent1"/>
        </a:buClr>
        <a:buFont typeface="Courier New" panose="02070309020205020404" pitchFamily="49" charset="0"/>
        <a:buChar char="o"/>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chemeClr val="accent1"/>
        </a:buClr>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36" userDrawn="1">
          <p15:clr>
            <a:srgbClr val="F26B43"/>
          </p15:clr>
        </p15:guide>
        <p15:guide id="2" pos="552" userDrawn="1">
          <p15:clr>
            <a:srgbClr val="F26B43"/>
          </p15:clr>
        </p15:guide>
        <p15:guide id="3" pos="7296" userDrawn="1">
          <p15:clr>
            <a:srgbClr val="F26B43"/>
          </p15:clr>
        </p15:guide>
        <p15:guide id="4" orient="horz" pos="720" userDrawn="1">
          <p15:clr>
            <a:srgbClr val="F26B43"/>
          </p15:clr>
        </p15:guide>
        <p15:guide id="5" pos="6768" userDrawn="1">
          <p15:clr>
            <a:srgbClr val="F26B43"/>
          </p15:clr>
        </p15:guide>
        <p15:guide id="6" orient="horz" pos="1104" userDrawn="1">
          <p15:clr>
            <a:srgbClr val="F26B43"/>
          </p15:clr>
        </p15:guide>
        <p15:guide id="7" pos="4008" userDrawn="1">
          <p15:clr>
            <a:srgbClr val="F26B43"/>
          </p15:clr>
        </p15:guide>
        <p15:guide id="8" pos="3840" userDrawn="1">
          <p15:clr>
            <a:srgbClr val="F26B43"/>
          </p15:clr>
        </p15:guide>
        <p15:guide id="9" pos="10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 y="0"/>
          <a:ext cx="215979" cy="161974"/>
        </p:xfrm>
        <a:graphic>
          <a:graphicData uri="http://schemas.openxmlformats.org/presentationml/2006/ole">
            <mc:AlternateContent xmlns:mc="http://schemas.openxmlformats.org/markup-compatibility/2006">
              <mc:Choice xmlns:v="urn:schemas-microsoft-com:vml" Requires="v">
                <p:oleObj spid="_x0000_s1089"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 y="0"/>
                        <a:ext cx="215979" cy="161974"/>
                      </a:xfrm>
                      <a:prstGeom prst="rect">
                        <a:avLst/>
                      </a:prstGeom>
                    </p:spPr>
                  </p:pic>
                </p:oleObj>
              </mc:Fallback>
            </mc:AlternateContent>
          </a:graphicData>
        </a:graphic>
      </p:graphicFrame>
      <p:sp>
        <p:nvSpPr>
          <p:cNvPr id="19" name="Title Placeholder 2"/>
          <p:cNvSpPr>
            <a:spLocks noGrp="1" noChangeArrowheads="1"/>
          </p:cNvSpPr>
          <p:nvPr>
            <p:ph type="title"/>
          </p:nvPr>
        </p:nvSpPr>
        <p:spPr bwMode="auto">
          <a:xfrm>
            <a:off x="762002" y="259324"/>
            <a:ext cx="111958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36" name="Rectangle 286"/>
          <p:cNvSpPr>
            <a:spLocks noGrp="1" noChangeArrowheads="1"/>
          </p:cNvSpPr>
          <p:nvPr>
            <p:ph type="body" idx="1"/>
          </p:nvPr>
        </p:nvSpPr>
        <p:spPr bwMode="auto">
          <a:xfrm>
            <a:off x="3169488" y="2772131"/>
            <a:ext cx="585302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0" name="McK 1. On-page tracker" hidden="1"/>
          <p:cNvSpPr>
            <a:spLocks noChangeArrowheads="1"/>
          </p:cNvSpPr>
          <p:nvPr/>
        </p:nvSpPr>
        <p:spPr bwMode="auto">
          <a:xfrm>
            <a:off x="762001"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762002" y="583445"/>
            <a:ext cx="111958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3" name="Slide Elements" hidden="1"/>
          <p:cNvGrpSpPr/>
          <p:nvPr/>
        </p:nvGrpSpPr>
        <p:grpSpPr bwMode="auto">
          <a:xfrm>
            <a:off x="762001" y="6410740"/>
            <a:ext cx="9209681" cy="378599"/>
            <a:chOff x="189522" y="6138331"/>
            <a:chExt cx="9526218" cy="378599"/>
          </a:xfrm>
        </p:grpSpPr>
        <p:sp>
          <p:nvSpPr>
            <p:cNvPr id="13" name="4. Footnote"/>
            <p:cNvSpPr txBox="1">
              <a:spLocks noChangeArrowheads="1"/>
            </p:cNvSpPr>
            <p:nvPr/>
          </p:nvSpPr>
          <p:spPr bwMode="auto">
            <a:xfrm>
              <a:off x="189522" y="6138331"/>
              <a:ext cx="952621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5. Source"/>
            <p:cNvSpPr>
              <a:spLocks noChangeArrowheads="1"/>
            </p:cNvSpPr>
            <p:nvPr/>
          </p:nvSpPr>
          <p:spPr bwMode="auto">
            <a:xfrm>
              <a:off x="189522" y="6363042"/>
              <a:ext cx="952621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69900" indent="-469900" defTabSz="957040" fontAlgn="base">
                <a:spcBef>
                  <a:spcPct val="0"/>
                </a:spcBef>
                <a:spcAft>
                  <a:spcPct val="0"/>
                </a:spcAft>
                <a:tabLst>
                  <a:tab pos="474663" algn="l"/>
                </a:tabLst>
              </a:pPr>
              <a:r>
                <a:rPr lang="en-US" sz="1000" dirty="0" smtClean="0">
                  <a:solidFill>
                    <a:srgbClr val="000000"/>
                  </a:solidFill>
                </a:rPr>
                <a:t>Source: Source</a:t>
              </a:r>
              <a:endParaRPr lang="en-US" sz="1000" dirty="0">
                <a:solidFill>
                  <a:srgbClr val="000000"/>
                </a:solidFill>
              </a:endParaRPr>
            </a:p>
          </p:txBody>
        </p:sp>
      </p:grpSp>
      <p:grpSp>
        <p:nvGrpSpPr>
          <p:cNvPr id="15" name="ACET" hidden="1"/>
          <p:cNvGrpSpPr>
            <a:grpSpLocks/>
          </p:cNvGrpSpPr>
          <p:nvPr/>
        </p:nvGrpSpPr>
        <p:grpSpPr bwMode="auto">
          <a:xfrm>
            <a:off x="3169488" y="2210078"/>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2" name="Slide Number"/>
          <p:cNvSpPr txBox="1">
            <a:spLocks/>
          </p:cNvSpPr>
          <p:nvPr/>
        </p:nvSpPr>
        <p:spPr bwMode="auto">
          <a:xfrm>
            <a:off x="11800740" y="6635450"/>
            <a:ext cx="157094" cy="153888"/>
          </a:xfrm>
          <a:prstGeom prst="rect">
            <a:avLst/>
          </a:prstGeom>
        </p:spPr>
        <p:txBody>
          <a:bodyPr vert="horz" wrap="none" lIns="0" tIns="0" rIns="0" bIns="0" rtlCol="0" anchor="b">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000000"/>
                </a:solidFill>
              </a:rPr>
              <a:pPr algn="r" fontAlgn="base">
                <a:spcBef>
                  <a:spcPct val="0"/>
                </a:spcBef>
                <a:spcAft>
                  <a:spcPct val="0"/>
                </a:spcAft>
              </a:pPr>
              <a:t>‹#›</a:t>
            </a:fld>
            <a:endParaRPr lang="en-US" sz="1000" dirty="0">
              <a:solidFill>
                <a:srgbClr val="000000"/>
              </a:solidFill>
            </a:endParaRPr>
          </a:p>
        </p:txBody>
      </p:sp>
      <p:grpSp>
        <p:nvGrpSpPr>
          <p:cNvPr id="18" name="LegendBoxes" hidden="1"/>
          <p:cNvGrpSpPr>
            <a:grpSpLocks/>
          </p:cNvGrpSpPr>
          <p:nvPr/>
        </p:nvGrpSpPr>
        <p:grpSpPr bwMode="auto">
          <a:xfrm>
            <a:off x="11018031" y="324046"/>
            <a:ext cx="822570" cy="996951"/>
            <a:chOff x="4936" y="176"/>
            <a:chExt cx="421" cy="628"/>
          </a:xfrm>
        </p:grpSpPr>
        <p:sp>
          <p:nvSpPr>
            <p:cNvPr id="20" name="Legend1"/>
            <p:cNvSpPr>
              <a:spLocks noChangeArrowheads="1"/>
            </p:cNvSpPr>
            <p:nvPr/>
          </p:nvSpPr>
          <p:spPr bwMode="auto">
            <a:xfrm>
              <a:off x="5096" y="17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3" name="Legend2"/>
            <p:cNvSpPr>
              <a:spLocks noChangeArrowheads="1"/>
            </p:cNvSpPr>
            <p:nvPr/>
          </p:nvSpPr>
          <p:spPr bwMode="auto">
            <a:xfrm>
              <a:off x="5096" y="34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2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3"/>
            <p:cNvSpPr>
              <a:spLocks noChangeArrowheads="1"/>
            </p:cNvSpPr>
            <p:nvPr/>
          </p:nvSpPr>
          <p:spPr bwMode="auto">
            <a:xfrm>
              <a:off x="5096" y="517"/>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2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4"/>
            <p:cNvSpPr>
              <a:spLocks noChangeArrowheads="1"/>
            </p:cNvSpPr>
            <p:nvPr/>
          </p:nvSpPr>
          <p:spPr bwMode="auto">
            <a:xfrm>
              <a:off x="5096" y="688"/>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2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29" name="LegendLines" hidden="1"/>
          <p:cNvGrpSpPr>
            <a:grpSpLocks/>
          </p:cNvGrpSpPr>
          <p:nvPr/>
        </p:nvGrpSpPr>
        <p:grpSpPr bwMode="auto">
          <a:xfrm>
            <a:off x="10638985" y="324046"/>
            <a:ext cx="1201616" cy="730251"/>
            <a:chOff x="4750" y="176"/>
            <a:chExt cx="615" cy="460"/>
          </a:xfrm>
        </p:grpSpPr>
        <p:sp>
          <p:nvSpPr>
            <p:cNvPr id="3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egend1"/>
            <p:cNvSpPr>
              <a:spLocks noChangeArrowheads="1"/>
            </p:cNvSpPr>
            <p:nvPr/>
          </p:nvSpPr>
          <p:spPr bwMode="auto">
            <a:xfrm>
              <a:off x="5104" y="17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34" name="Legend2"/>
            <p:cNvSpPr>
              <a:spLocks noChangeArrowheads="1"/>
            </p:cNvSpPr>
            <p:nvPr/>
          </p:nvSpPr>
          <p:spPr bwMode="auto">
            <a:xfrm>
              <a:off x="5104" y="344"/>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35" name="Legend3"/>
            <p:cNvSpPr>
              <a:spLocks noChangeArrowheads="1"/>
            </p:cNvSpPr>
            <p:nvPr/>
          </p:nvSpPr>
          <p:spPr bwMode="auto">
            <a:xfrm>
              <a:off x="5104" y="520"/>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grpSp>
      <p:grpSp>
        <p:nvGrpSpPr>
          <p:cNvPr id="36" name="McKSticker" hidden="1"/>
          <p:cNvGrpSpPr/>
          <p:nvPr/>
        </p:nvGrpSpPr>
        <p:grpSpPr bwMode="auto">
          <a:xfrm>
            <a:off x="10890937" y="324045"/>
            <a:ext cx="1066895" cy="212366"/>
            <a:chOff x="7873923" y="285750"/>
            <a:chExt cx="866852" cy="212366"/>
          </a:xfrm>
        </p:grpSpPr>
        <p:sp>
          <p:nvSpPr>
            <p:cNvPr id="37" name="StickerRectangle"/>
            <p:cNvSpPr>
              <a:spLocks noChangeArrowheads="1"/>
            </p:cNvSpPr>
            <p:nvPr/>
          </p:nvSpPr>
          <p:spPr bwMode="auto">
            <a:xfrm>
              <a:off x="7873923" y="285750"/>
              <a:ext cx="866852"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E31B23"/>
                </a:buClr>
              </a:pPr>
              <a:r>
                <a:rPr lang="en-US" sz="1200" dirty="0">
                  <a:solidFill>
                    <a:srgbClr val="808080"/>
                  </a:solidFill>
                </a:rPr>
                <a:t>PRELIMINARY</a:t>
              </a:r>
            </a:p>
          </p:txBody>
        </p:sp>
        <p:cxnSp>
          <p:nvCxnSpPr>
            <p:cNvPr id="38" name="AutoShape 31"/>
            <p:cNvCxnSpPr>
              <a:cxnSpLocks noChangeShapeType="1"/>
              <a:stCxn id="37" idx="2"/>
              <a:endCxn id="37" idx="4"/>
            </p:cNvCxnSpPr>
            <p:nvPr/>
          </p:nvCxnSpPr>
          <p:spPr bwMode="auto">
            <a:xfrm>
              <a:off x="7873923"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9" name="AutoShape 32"/>
            <p:cNvCxnSpPr>
              <a:cxnSpLocks noChangeShapeType="1"/>
              <a:stCxn id="37" idx="4"/>
              <a:endCxn id="37" idx="6"/>
            </p:cNvCxnSpPr>
            <p:nvPr/>
          </p:nvCxnSpPr>
          <p:spPr bwMode="auto">
            <a:xfrm>
              <a:off x="7873923" y="498116"/>
              <a:ext cx="86685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auto">
          <a:xfrm>
            <a:off x="10935763" y="324045"/>
            <a:ext cx="904432" cy="1306516"/>
            <a:chOff x="5428012" y="273840"/>
            <a:chExt cx="734851" cy="1306516"/>
          </a:xfrm>
        </p:grpSpPr>
        <p:sp>
          <p:nvSpPr>
            <p:cNvPr id="44" name="Legend1"/>
            <p:cNvSpPr>
              <a:spLocks noChangeArrowheads="1"/>
            </p:cNvSpPr>
            <p:nvPr/>
          </p:nvSpPr>
          <p:spPr bwMode="auto">
            <a:xfrm>
              <a:off x="5748687" y="286540"/>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dirty="0">
                  <a:solidFill>
                    <a:srgbClr val="000000"/>
                  </a:solidFill>
                </a:rPr>
                <a:t>Legend</a:t>
              </a:r>
            </a:p>
          </p:txBody>
        </p:sp>
        <p:sp>
          <p:nvSpPr>
            <p:cNvPr id="45" name="Legend2"/>
            <p:cNvSpPr>
              <a:spLocks noChangeArrowheads="1"/>
            </p:cNvSpPr>
            <p:nvPr/>
          </p:nvSpPr>
          <p:spPr bwMode="auto">
            <a:xfrm>
              <a:off x="5748687" y="561178"/>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dirty="0">
                  <a:solidFill>
                    <a:srgbClr val="000000"/>
                  </a:solidFill>
                </a:rPr>
                <a:t>Legend</a:t>
              </a:r>
            </a:p>
          </p:txBody>
        </p:sp>
        <p:sp>
          <p:nvSpPr>
            <p:cNvPr id="46" name="Legend3"/>
            <p:cNvSpPr>
              <a:spLocks noChangeArrowheads="1"/>
            </p:cNvSpPr>
            <p:nvPr/>
          </p:nvSpPr>
          <p:spPr bwMode="auto">
            <a:xfrm>
              <a:off x="5748687" y="835817"/>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dirty="0">
                  <a:solidFill>
                    <a:srgbClr val="000000"/>
                  </a:solidFill>
                </a:rPr>
                <a:t>Legend</a:t>
              </a:r>
            </a:p>
          </p:txBody>
        </p:sp>
        <p:sp>
          <p:nvSpPr>
            <p:cNvPr id="47" name="Legend4"/>
            <p:cNvSpPr>
              <a:spLocks noChangeArrowheads="1"/>
            </p:cNvSpPr>
            <p:nvPr/>
          </p:nvSpPr>
          <p:spPr bwMode="auto">
            <a:xfrm>
              <a:off x="5748687" y="1107280"/>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48" name="Legend5"/>
            <p:cNvSpPr>
              <a:spLocks noChangeArrowheads="1"/>
            </p:cNvSpPr>
            <p:nvPr/>
          </p:nvSpPr>
          <p:spPr bwMode="auto">
            <a:xfrm>
              <a:off x="5748687" y="1383505"/>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dirty="0">
                  <a:solidFill>
                    <a:srgbClr val="000000"/>
                  </a:solidFill>
                </a:rPr>
                <a:t>Legend</a:t>
              </a:r>
            </a:p>
          </p:txBody>
        </p:sp>
        <p:grpSp>
          <p:nvGrpSpPr>
            <p:cNvPr id="49" name="MoonLegend1"/>
            <p:cNvGrpSpPr>
              <a:grpSpLocks noChangeAspect="1"/>
            </p:cNvGrpSpPr>
            <p:nvPr userDrawn="1">
              <p:custDataLst>
                <p:tags r:id="rId8"/>
              </p:custDataLst>
            </p:nvPr>
          </p:nvGrpSpPr>
          <p:grpSpPr bwMode="auto">
            <a:xfrm>
              <a:off x="5428012" y="273840"/>
              <a:ext cx="209550" cy="209551"/>
              <a:chOff x="1694" y="2044"/>
              <a:chExt cx="160" cy="160"/>
            </a:xfrm>
          </p:grpSpPr>
          <p:sp>
            <p:nvSpPr>
              <p:cNvPr id="6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3"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50" name="MoonLegend2"/>
            <p:cNvGrpSpPr>
              <a:grpSpLocks noChangeAspect="1"/>
            </p:cNvGrpSpPr>
            <p:nvPr userDrawn="1">
              <p:custDataLst>
                <p:tags r:id="rId9"/>
              </p:custDataLst>
            </p:nvPr>
          </p:nvGrpSpPr>
          <p:grpSpPr bwMode="auto">
            <a:xfrm>
              <a:off x="5428012" y="548081"/>
              <a:ext cx="209550" cy="209551"/>
              <a:chOff x="1694" y="2044"/>
              <a:chExt cx="160" cy="160"/>
            </a:xfrm>
          </p:grpSpPr>
          <p:sp>
            <p:nvSpPr>
              <p:cNvPr id="6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1"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51" name="MoonLegend3"/>
            <p:cNvGrpSpPr>
              <a:grpSpLocks noChangeAspect="1"/>
            </p:cNvGrpSpPr>
            <p:nvPr userDrawn="1">
              <p:custDataLst>
                <p:tags r:id="rId10"/>
              </p:custDataLst>
            </p:nvPr>
          </p:nvGrpSpPr>
          <p:grpSpPr bwMode="auto">
            <a:xfrm>
              <a:off x="5428012" y="822322"/>
              <a:ext cx="209550" cy="209551"/>
              <a:chOff x="1694" y="2044"/>
              <a:chExt cx="160" cy="160"/>
            </a:xfrm>
          </p:grpSpPr>
          <p:sp>
            <p:nvSpPr>
              <p:cNvPr id="58"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59" name="Arc 42"/>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52" name="MoonLegend4"/>
            <p:cNvGrpSpPr>
              <a:grpSpLocks noChangeAspect="1"/>
            </p:cNvGrpSpPr>
            <p:nvPr userDrawn="1">
              <p:custDataLst>
                <p:tags r:id="rId11"/>
              </p:custDataLst>
            </p:nvPr>
          </p:nvGrpSpPr>
          <p:grpSpPr bwMode="auto">
            <a:xfrm>
              <a:off x="5428012" y="1096563"/>
              <a:ext cx="209550" cy="209551"/>
              <a:chOff x="1694" y="2044"/>
              <a:chExt cx="160" cy="160"/>
            </a:xfrm>
          </p:grpSpPr>
          <p:sp>
            <p:nvSpPr>
              <p:cNvPr id="56"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57" name="Arc 42"/>
              <p:cNvSpPr>
                <a:spLocks noChangeAspect="1"/>
              </p:cNvSpPr>
              <p:nvPr>
                <p:custDataLst>
                  <p:tags r:id="rId16"/>
                </p:custDataLst>
              </p:nvPr>
            </p:nvSpPr>
            <p:spPr bwMode="auto">
              <a:xfrm>
                <a:off x="1694" y="204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53" name="MoonLegend5"/>
            <p:cNvGrpSpPr>
              <a:grpSpLocks noChangeAspect="1"/>
            </p:cNvGrpSpPr>
            <p:nvPr userDrawn="1">
              <p:custDataLst>
                <p:tags r:id="rId12"/>
              </p:custDataLst>
            </p:nvPr>
          </p:nvGrpSpPr>
          <p:grpSpPr bwMode="auto">
            <a:xfrm>
              <a:off x="5428012" y="1370805"/>
              <a:ext cx="209550" cy="209551"/>
              <a:chOff x="1694" y="2044"/>
              <a:chExt cx="160" cy="160"/>
            </a:xfrm>
          </p:grpSpPr>
          <p:sp>
            <p:nvSpPr>
              <p:cNvPr id="54"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55" name="Arc 42"/>
              <p:cNvSpPr>
                <a:spLocks noChangeAspect="1"/>
              </p:cNvSpPr>
              <p:nvPr>
                <p:custDataLst>
                  <p:tags r:id="rId14"/>
                </p:custDataLst>
              </p:nvPr>
            </p:nvSpPr>
            <p:spPr bwMode="auto">
              <a:xfrm>
                <a:off x="1694" y="2044"/>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66" name="Picture Placeholder 6"/>
          <p:cNvPicPr>
            <a:picLocks noChangeAspect="1"/>
          </p:cNvPicPr>
          <p:nvPr userDrawn="1"/>
        </p:nvPicPr>
        <p:blipFill rotWithShape="1">
          <a:blip r:embed="rId25" cstate="screen">
            <a:extLst>
              <a:ext uri="{28A0092B-C50C-407E-A947-70E740481C1C}">
                <a14:useLocalDpi xmlns:a14="http://schemas.microsoft.com/office/drawing/2010/main"/>
              </a:ext>
            </a:extLst>
          </a:blip>
          <a:srcRect/>
          <a:stretch/>
        </p:blipFill>
        <p:spPr bwMode="ltGray">
          <a:xfrm>
            <a:off x="3" y="0"/>
            <a:ext cx="457200" cy="6858000"/>
          </a:xfrm>
          <a:prstGeom prst="rect">
            <a:avLst/>
          </a:prstGeom>
        </p:spPr>
      </p:pic>
      <p:sp>
        <p:nvSpPr>
          <p:cNvPr id="67" name="Rectangle 66"/>
          <p:cNvSpPr/>
          <p:nvPr userDrawn="1"/>
        </p:nvSpPr>
        <p:spPr bwMode="ltGray">
          <a:xfrm>
            <a:off x="457201" y="0"/>
            <a:ext cx="118873" cy="6858000"/>
          </a:xfrm>
          <a:prstGeom prst="rect">
            <a:avLst/>
          </a:prstGeom>
          <a:solidFill>
            <a:srgbClr val="E31B23"/>
          </a:solidFill>
          <a:ln w="25400" cap="flat" cmpd="sng" algn="ctr">
            <a:noFill/>
            <a:prstDash val="solid"/>
          </a:ln>
          <a:effectLst/>
        </p:spPr>
        <p:txBody>
          <a:bodyPr rtlCol="0" anchor="ctr"/>
          <a:lstStyle/>
          <a:p>
            <a:pPr algn="ctr">
              <a:defRPr/>
            </a:pPr>
            <a:endParaRPr lang="en-US" sz="1800" kern="0" dirty="0">
              <a:solidFill>
                <a:srgbClr val="FFFFFF"/>
              </a:solidFill>
            </a:endParaRPr>
          </a:p>
        </p:txBody>
      </p:sp>
      <p:sp>
        <p:nvSpPr>
          <p:cNvPr id="65" name="Freeform 5"/>
          <p:cNvSpPr>
            <a:spLocks noEditPoints="1"/>
          </p:cNvSpPr>
          <p:nvPr userDrawn="1"/>
        </p:nvSpPr>
        <p:spPr bwMode="ltGray">
          <a:xfrm>
            <a:off x="10433962" y="6455966"/>
            <a:ext cx="1058954" cy="309562"/>
          </a:xfrm>
          <a:custGeom>
            <a:avLst/>
            <a:gdLst>
              <a:gd name="T0" fmla="*/ 2400 w 2814"/>
              <a:gd name="T1" fmla="*/ 18 h 1010"/>
              <a:gd name="T2" fmla="*/ 2124 w 2814"/>
              <a:gd name="T3" fmla="*/ 18 h 1010"/>
              <a:gd name="T4" fmla="*/ 1799 w 2814"/>
              <a:gd name="T5" fmla="*/ 783 h 1010"/>
              <a:gd name="T6" fmla="*/ 1799 w 2814"/>
              <a:gd name="T7" fmla="*/ 414 h 1010"/>
              <a:gd name="T8" fmla="*/ 1273 w 2814"/>
              <a:gd name="T9" fmla="*/ 414 h 1010"/>
              <a:gd name="T10" fmla="*/ 1273 w 2814"/>
              <a:gd name="T11" fmla="*/ 630 h 1010"/>
              <a:gd name="T12" fmla="*/ 1536 w 2814"/>
              <a:gd name="T13" fmla="*/ 630 h 1010"/>
              <a:gd name="T14" fmla="*/ 1309 w 2814"/>
              <a:gd name="T15" fmla="*/ 764 h 1010"/>
              <a:gd name="T16" fmla="*/ 1050 w 2814"/>
              <a:gd name="T17" fmla="*/ 504 h 1010"/>
              <a:gd name="T18" fmla="*/ 1309 w 2814"/>
              <a:gd name="T19" fmla="*/ 245 h 1010"/>
              <a:gd name="T20" fmla="*/ 1521 w 2814"/>
              <a:gd name="T21" fmla="*/ 355 h 1010"/>
              <a:gd name="T22" fmla="*/ 1679 w 2814"/>
              <a:gd name="T23" fmla="*/ 163 h 1010"/>
              <a:gd name="T24" fmla="*/ 1309 w 2814"/>
              <a:gd name="T25" fmla="*/ 0 h 1010"/>
              <a:gd name="T26" fmla="*/ 857 w 2814"/>
              <a:gd name="T27" fmla="*/ 282 h 1010"/>
              <a:gd name="T28" fmla="*/ 776 w 2814"/>
              <a:gd name="T29" fmla="*/ 126 h 1010"/>
              <a:gd name="T30" fmla="*/ 461 w 2814"/>
              <a:gd name="T31" fmla="*/ 20 h 1010"/>
              <a:gd name="T32" fmla="*/ 0 w 2814"/>
              <a:gd name="T33" fmla="*/ 20 h 1010"/>
              <a:gd name="T34" fmla="*/ 0 w 2814"/>
              <a:gd name="T35" fmla="*/ 990 h 1010"/>
              <a:gd name="T36" fmla="*/ 287 w 2814"/>
              <a:gd name="T37" fmla="*/ 990 h 1010"/>
              <a:gd name="T38" fmla="*/ 287 w 2814"/>
              <a:gd name="T39" fmla="*/ 678 h 1010"/>
              <a:gd name="T40" fmla="*/ 585 w 2814"/>
              <a:gd name="T41" fmla="*/ 990 h 1010"/>
              <a:gd name="T42" fmla="*/ 935 w 2814"/>
              <a:gd name="T43" fmla="*/ 990 h 1010"/>
              <a:gd name="T44" fmla="*/ 646 w 2814"/>
              <a:gd name="T45" fmla="*/ 688 h 1010"/>
              <a:gd name="T46" fmla="*/ 776 w 2814"/>
              <a:gd name="T47" fmla="*/ 612 h 1010"/>
              <a:gd name="T48" fmla="*/ 810 w 2814"/>
              <a:gd name="T49" fmla="*/ 572 h 1010"/>
              <a:gd name="T50" fmla="*/ 1309 w 2814"/>
              <a:gd name="T51" fmla="*/ 1010 h 1010"/>
              <a:gd name="T52" fmla="*/ 1583 w 2814"/>
              <a:gd name="T53" fmla="*/ 928 h 1010"/>
              <a:gd name="T54" fmla="*/ 1583 w 2814"/>
              <a:gd name="T55" fmla="*/ 990 h 1010"/>
              <a:gd name="T56" fmla="*/ 2021 w 2814"/>
              <a:gd name="T57" fmla="*/ 990 h 1010"/>
              <a:gd name="T58" fmla="*/ 2081 w 2814"/>
              <a:gd name="T59" fmla="*/ 848 h 1010"/>
              <a:gd name="T60" fmla="*/ 2443 w 2814"/>
              <a:gd name="T61" fmla="*/ 848 h 1010"/>
              <a:gd name="T62" fmla="*/ 2504 w 2814"/>
              <a:gd name="T63" fmla="*/ 990 h 1010"/>
              <a:gd name="T64" fmla="*/ 2814 w 2814"/>
              <a:gd name="T65" fmla="*/ 990 h 1010"/>
              <a:gd name="T66" fmla="*/ 2400 w 2814"/>
              <a:gd name="T67" fmla="*/ 18 h 1010"/>
              <a:gd name="T68" fmla="*/ 574 w 2814"/>
              <a:gd name="T69" fmla="*/ 365 h 1010"/>
              <a:gd name="T70" fmla="*/ 447 w 2814"/>
              <a:gd name="T71" fmla="*/ 463 h 1010"/>
              <a:gd name="T72" fmla="*/ 287 w 2814"/>
              <a:gd name="T73" fmla="*/ 463 h 1010"/>
              <a:gd name="T74" fmla="*/ 287 w 2814"/>
              <a:gd name="T75" fmla="*/ 264 h 1010"/>
              <a:gd name="T76" fmla="*/ 446 w 2814"/>
              <a:gd name="T77" fmla="*/ 264 h 1010"/>
              <a:gd name="T78" fmla="*/ 574 w 2814"/>
              <a:gd name="T79" fmla="*/ 362 h 1010"/>
              <a:gd name="T80" fmla="*/ 574 w 2814"/>
              <a:gd name="T81" fmla="*/ 365 h 1010"/>
              <a:gd name="T82" fmla="*/ 2166 w 2814"/>
              <a:gd name="T83" fmla="*/ 629 h 1010"/>
              <a:gd name="T84" fmla="*/ 2262 w 2814"/>
              <a:gd name="T85" fmla="*/ 386 h 1010"/>
              <a:gd name="T86" fmla="*/ 2361 w 2814"/>
              <a:gd name="T87" fmla="*/ 629 h 1010"/>
              <a:gd name="T88" fmla="*/ 2166 w 2814"/>
              <a:gd name="T89" fmla="*/ 629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14" h="1010">
                <a:moveTo>
                  <a:pt x="2400" y="18"/>
                </a:moveTo>
                <a:cubicBezTo>
                  <a:pt x="2124" y="18"/>
                  <a:pt x="2124" y="18"/>
                  <a:pt x="2124" y="18"/>
                </a:cubicBezTo>
                <a:cubicBezTo>
                  <a:pt x="1799" y="783"/>
                  <a:pt x="1799" y="783"/>
                  <a:pt x="1799" y="783"/>
                </a:cubicBezTo>
                <a:cubicBezTo>
                  <a:pt x="1799" y="414"/>
                  <a:pt x="1799" y="414"/>
                  <a:pt x="1799" y="414"/>
                </a:cubicBezTo>
                <a:cubicBezTo>
                  <a:pt x="1273" y="414"/>
                  <a:pt x="1273" y="414"/>
                  <a:pt x="1273" y="414"/>
                </a:cubicBezTo>
                <a:cubicBezTo>
                  <a:pt x="1273" y="630"/>
                  <a:pt x="1273" y="630"/>
                  <a:pt x="1273" y="630"/>
                </a:cubicBezTo>
                <a:cubicBezTo>
                  <a:pt x="1536" y="630"/>
                  <a:pt x="1536" y="630"/>
                  <a:pt x="1536" y="630"/>
                </a:cubicBezTo>
                <a:cubicBezTo>
                  <a:pt x="1492" y="710"/>
                  <a:pt x="1407" y="764"/>
                  <a:pt x="1309" y="764"/>
                </a:cubicBezTo>
                <a:cubicBezTo>
                  <a:pt x="1166" y="764"/>
                  <a:pt x="1050" y="648"/>
                  <a:pt x="1050" y="504"/>
                </a:cubicBezTo>
                <a:cubicBezTo>
                  <a:pt x="1050" y="361"/>
                  <a:pt x="1166" y="245"/>
                  <a:pt x="1309" y="245"/>
                </a:cubicBezTo>
                <a:cubicBezTo>
                  <a:pt x="1396" y="245"/>
                  <a:pt x="1474" y="289"/>
                  <a:pt x="1521" y="355"/>
                </a:cubicBezTo>
                <a:cubicBezTo>
                  <a:pt x="1679" y="163"/>
                  <a:pt x="1679" y="163"/>
                  <a:pt x="1679" y="163"/>
                </a:cubicBezTo>
                <a:cubicBezTo>
                  <a:pt x="1587" y="63"/>
                  <a:pt x="1455" y="0"/>
                  <a:pt x="1309" y="0"/>
                </a:cubicBezTo>
                <a:cubicBezTo>
                  <a:pt x="1110" y="0"/>
                  <a:pt x="939" y="115"/>
                  <a:pt x="857" y="282"/>
                </a:cubicBezTo>
                <a:cubicBezTo>
                  <a:pt x="845" y="220"/>
                  <a:pt x="818" y="168"/>
                  <a:pt x="776" y="126"/>
                </a:cubicBezTo>
                <a:cubicBezTo>
                  <a:pt x="707" y="56"/>
                  <a:pt x="601" y="21"/>
                  <a:pt x="461" y="20"/>
                </a:cubicBezTo>
                <a:cubicBezTo>
                  <a:pt x="0" y="20"/>
                  <a:pt x="0" y="20"/>
                  <a:pt x="0" y="20"/>
                </a:cubicBezTo>
                <a:cubicBezTo>
                  <a:pt x="0" y="990"/>
                  <a:pt x="0" y="990"/>
                  <a:pt x="0" y="990"/>
                </a:cubicBezTo>
                <a:cubicBezTo>
                  <a:pt x="287" y="990"/>
                  <a:pt x="287" y="990"/>
                  <a:pt x="287" y="990"/>
                </a:cubicBezTo>
                <a:cubicBezTo>
                  <a:pt x="287" y="678"/>
                  <a:pt x="287" y="678"/>
                  <a:pt x="287" y="678"/>
                </a:cubicBezTo>
                <a:cubicBezTo>
                  <a:pt x="585" y="990"/>
                  <a:pt x="585" y="990"/>
                  <a:pt x="585" y="990"/>
                </a:cubicBezTo>
                <a:cubicBezTo>
                  <a:pt x="935" y="990"/>
                  <a:pt x="935" y="990"/>
                  <a:pt x="935" y="990"/>
                </a:cubicBezTo>
                <a:cubicBezTo>
                  <a:pt x="646" y="688"/>
                  <a:pt x="646" y="688"/>
                  <a:pt x="646" y="688"/>
                </a:cubicBezTo>
                <a:cubicBezTo>
                  <a:pt x="695" y="670"/>
                  <a:pt x="743" y="645"/>
                  <a:pt x="776" y="612"/>
                </a:cubicBezTo>
                <a:cubicBezTo>
                  <a:pt x="788" y="599"/>
                  <a:pt x="800" y="586"/>
                  <a:pt x="810" y="572"/>
                </a:cubicBezTo>
                <a:cubicBezTo>
                  <a:pt x="842" y="819"/>
                  <a:pt x="1053" y="1010"/>
                  <a:pt x="1309" y="1010"/>
                </a:cubicBezTo>
                <a:cubicBezTo>
                  <a:pt x="1410" y="1010"/>
                  <a:pt x="1504" y="980"/>
                  <a:pt x="1583" y="928"/>
                </a:cubicBezTo>
                <a:cubicBezTo>
                  <a:pt x="1583" y="990"/>
                  <a:pt x="1583" y="990"/>
                  <a:pt x="1583" y="990"/>
                </a:cubicBezTo>
                <a:cubicBezTo>
                  <a:pt x="2021" y="990"/>
                  <a:pt x="2021" y="990"/>
                  <a:pt x="2021" y="990"/>
                </a:cubicBezTo>
                <a:cubicBezTo>
                  <a:pt x="2081" y="848"/>
                  <a:pt x="2081" y="848"/>
                  <a:pt x="2081" y="848"/>
                </a:cubicBezTo>
                <a:cubicBezTo>
                  <a:pt x="2443" y="848"/>
                  <a:pt x="2443" y="848"/>
                  <a:pt x="2443" y="848"/>
                </a:cubicBezTo>
                <a:cubicBezTo>
                  <a:pt x="2504" y="990"/>
                  <a:pt x="2504" y="990"/>
                  <a:pt x="2504" y="990"/>
                </a:cubicBezTo>
                <a:cubicBezTo>
                  <a:pt x="2814" y="990"/>
                  <a:pt x="2814" y="990"/>
                  <a:pt x="2814" y="990"/>
                </a:cubicBezTo>
                <a:lnTo>
                  <a:pt x="2400" y="18"/>
                </a:lnTo>
                <a:close/>
                <a:moveTo>
                  <a:pt x="574" y="365"/>
                </a:moveTo>
                <a:cubicBezTo>
                  <a:pt x="574" y="427"/>
                  <a:pt x="528" y="463"/>
                  <a:pt x="447" y="463"/>
                </a:cubicBezTo>
                <a:cubicBezTo>
                  <a:pt x="287" y="463"/>
                  <a:pt x="287" y="463"/>
                  <a:pt x="287" y="463"/>
                </a:cubicBezTo>
                <a:cubicBezTo>
                  <a:pt x="287" y="264"/>
                  <a:pt x="287" y="264"/>
                  <a:pt x="287" y="264"/>
                </a:cubicBezTo>
                <a:cubicBezTo>
                  <a:pt x="446" y="264"/>
                  <a:pt x="446" y="264"/>
                  <a:pt x="446" y="264"/>
                </a:cubicBezTo>
                <a:cubicBezTo>
                  <a:pt x="504" y="264"/>
                  <a:pt x="574" y="281"/>
                  <a:pt x="574" y="362"/>
                </a:cubicBezTo>
                <a:lnTo>
                  <a:pt x="574" y="365"/>
                </a:lnTo>
                <a:close/>
                <a:moveTo>
                  <a:pt x="2166" y="629"/>
                </a:moveTo>
                <a:cubicBezTo>
                  <a:pt x="2262" y="386"/>
                  <a:pt x="2262" y="386"/>
                  <a:pt x="2262" y="386"/>
                </a:cubicBezTo>
                <a:cubicBezTo>
                  <a:pt x="2361" y="629"/>
                  <a:pt x="2361" y="629"/>
                  <a:pt x="2361" y="629"/>
                </a:cubicBezTo>
                <a:lnTo>
                  <a:pt x="2166" y="629"/>
                </a:lnTo>
                <a:close/>
              </a:path>
            </a:pathLst>
          </a:custGeom>
          <a:solidFill>
            <a:srgbClr val="E31B23"/>
          </a:solidFill>
          <a:ln>
            <a:noFill/>
          </a:ln>
        </p:spPr>
        <p:txBody>
          <a:bodyPr vert="horz" wrap="square" lIns="91440" tIns="45720" rIns="91440" bIns="45720" numCol="1" anchor="t" anchorCtr="0" compatLnSpc="1">
            <a:prstTxWarp prst="textNoShape">
              <a:avLst/>
            </a:prstTxWarp>
          </a:bodyPr>
          <a:lstStyle/>
          <a:p>
            <a:pPr>
              <a:defRPr/>
            </a:pPr>
            <a:endParaRPr lang="en-US" sz="1800" kern="0" dirty="0">
              <a:solidFill>
                <a:sysClr val="windowText" lastClr="000000"/>
              </a:solidFill>
            </a:endParaRPr>
          </a:p>
        </p:txBody>
      </p:sp>
    </p:spTree>
    <p:extLst>
      <p:ext uri="{BB962C8B-B14F-4D97-AF65-F5344CB8AC3E}">
        <p14:creationId xmlns:p14="http://schemas.microsoft.com/office/powerpoint/2010/main" val="291997450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timing>
    <p:tnLst>
      <p:par>
        <p:cTn id="1" dur="indefinite" restart="never" nodeType="tmRoot"/>
      </p:par>
    </p:tnLst>
  </p:timing>
  <p:hf hdr="0" ftr="0" dt="0"/>
  <p:txStyles>
    <p:titleStyle>
      <a:lvl1pPr algn="l" defTabSz="957040" rtl="0" eaLnBrk="1" fontAlgn="base" hangingPunct="1">
        <a:spcBef>
          <a:spcPct val="0"/>
        </a:spcBef>
        <a:spcAft>
          <a:spcPct val="0"/>
        </a:spcAft>
        <a:tabLst>
          <a:tab pos="288469" algn="l"/>
        </a:tabLst>
        <a:defRPr sz="2000" b="1" baseline="0">
          <a:solidFill>
            <a:schemeClr val="tx2"/>
          </a:solidFill>
          <a:latin typeface="+mj-lt"/>
          <a:ea typeface="+mj-ea"/>
          <a:cs typeface="+mj-cs"/>
        </a:defRPr>
      </a:lvl1pPr>
      <a:lvl2pPr algn="l" defTabSz="957040" rtl="0" eaLnBrk="1" fontAlgn="base" hangingPunct="1">
        <a:spcBef>
          <a:spcPct val="0"/>
        </a:spcBef>
        <a:spcAft>
          <a:spcPct val="0"/>
        </a:spcAft>
        <a:defRPr sz="2000" b="1">
          <a:solidFill>
            <a:schemeClr val="tx2"/>
          </a:solidFill>
          <a:latin typeface="Arial" charset="0"/>
        </a:defRPr>
      </a:lvl2pPr>
      <a:lvl3pPr algn="l" defTabSz="957040" rtl="0" eaLnBrk="1" fontAlgn="base" hangingPunct="1">
        <a:spcBef>
          <a:spcPct val="0"/>
        </a:spcBef>
        <a:spcAft>
          <a:spcPct val="0"/>
        </a:spcAft>
        <a:defRPr sz="2000" b="1">
          <a:solidFill>
            <a:schemeClr val="tx2"/>
          </a:solidFill>
          <a:latin typeface="Arial" charset="0"/>
        </a:defRPr>
      </a:lvl3pPr>
      <a:lvl4pPr algn="l" defTabSz="957040" rtl="0" eaLnBrk="1" fontAlgn="base" hangingPunct="1">
        <a:spcBef>
          <a:spcPct val="0"/>
        </a:spcBef>
        <a:spcAft>
          <a:spcPct val="0"/>
        </a:spcAft>
        <a:defRPr sz="2000" b="1">
          <a:solidFill>
            <a:schemeClr val="tx2"/>
          </a:solidFill>
          <a:latin typeface="Arial" charset="0"/>
        </a:defRPr>
      </a:lvl4pPr>
      <a:lvl5pPr algn="l" defTabSz="957040" rtl="0" eaLnBrk="1" fontAlgn="base" hangingPunct="1">
        <a:spcBef>
          <a:spcPct val="0"/>
        </a:spcBef>
        <a:spcAft>
          <a:spcPct val="0"/>
        </a:spcAft>
        <a:defRPr sz="2000" b="1">
          <a:solidFill>
            <a:schemeClr val="tx2"/>
          </a:solidFill>
          <a:latin typeface="Arial" charset="0"/>
        </a:defRPr>
      </a:lvl5pPr>
      <a:lvl6pPr marL="488701" algn="l" defTabSz="957040" rtl="0" eaLnBrk="1" fontAlgn="base" hangingPunct="1">
        <a:spcBef>
          <a:spcPct val="0"/>
        </a:spcBef>
        <a:spcAft>
          <a:spcPct val="0"/>
        </a:spcAft>
        <a:defRPr sz="2000" b="1">
          <a:solidFill>
            <a:schemeClr val="tx2"/>
          </a:solidFill>
          <a:latin typeface="Arial" charset="0"/>
        </a:defRPr>
      </a:lvl6pPr>
      <a:lvl7pPr marL="977402" algn="l" defTabSz="957040" rtl="0" eaLnBrk="1" fontAlgn="base" hangingPunct="1">
        <a:spcBef>
          <a:spcPct val="0"/>
        </a:spcBef>
        <a:spcAft>
          <a:spcPct val="0"/>
        </a:spcAft>
        <a:defRPr sz="2000" b="1">
          <a:solidFill>
            <a:schemeClr val="tx2"/>
          </a:solidFill>
          <a:latin typeface="Arial" charset="0"/>
        </a:defRPr>
      </a:lvl7pPr>
      <a:lvl8pPr marL="1466103" algn="l" defTabSz="957040" rtl="0" eaLnBrk="1" fontAlgn="base" hangingPunct="1">
        <a:spcBef>
          <a:spcPct val="0"/>
        </a:spcBef>
        <a:spcAft>
          <a:spcPct val="0"/>
        </a:spcAft>
        <a:defRPr sz="2000" b="1">
          <a:solidFill>
            <a:schemeClr val="tx2"/>
          </a:solidFill>
          <a:latin typeface="Arial" charset="0"/>
        </a:defRPr>
      </a:lvl8pPr>
      <a:lvl9pPr marL="1954804" algn="l" defTabSz="957040" rtl="0" eaLnBrk="1" fontAlgn="base" hangingPunct="1">
        <a:spcBef>
          <a:spcPct val="0"/>
        </a:spcBef>
        <a:spcAft>
          <a:spcPct val="0"/>
        </a:spcAft>
        <a:defRPr sz="2000" b="1">
          <a:solidFill>
            <a:schemeClr val="tx2"/>
          </a:solidFill>
          <a:latin typeface="Arial" charset="0"/>
        </a:defRPr>
      </a:lvl9pPr>
    </p:titleStyle>
    <p:bodyStyle>
      <a:lvl1pPr marL="0" indent="0" algn="l" defTabSz="95704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207019" indent="-205323" algn="l" defTabSz="95704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88701" indent="-279986" algn="l" defTabSz="95704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56693" indent="-166294" algn="l" defTabSz="95704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801470" indent="-139144" algn="l" defTabSz="95704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6pPr>
      <a:lvl7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7pPr>
      <a:lvl8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8pPr>
      <a:lvl9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9pPr>
    </p:bodyStyle>
    <p:otherStyle>
      <a:defPPr>
        <a:defRPr lang="en-US"/>
      </a:defPPr>
      <a:lvl1pPr marL="0" algn="l" defTabSz="977402" rtl="0" eaLnBrk="1" latinLnBrk="0" hangingPunct="1">
        <a:defRPr sz="1900" kern="1200">
          <a:solidFill>
            <a:schemeClr val="tx1"/>
          </a:solidFill>
          <a:latin typeface="+mn-lt"/>
          <a:ea typeface="+mn-ea"/>
          <a:cs typeface="+mn-cs"/>
        </a:defRPr>
      </a:lvl1pPr>
      <a:lvl2pPr marL="488701" algn="l" defTabSz="977402" rtl="0" eaLnBrk="1" latinLnBrk="0" hangingPunct="1">
        <a:defRPr sz="1900" kern="1200">
          <a:solidFill>
            <a:schemeClr val="tx1"/>
          </a:solidFill>
          <a:latin typeface="+mn-lt"/>
          <a:ea typeface="+mn-ea"/>
          <a:cs typeface="+mn-cs"/>
        </a:defRPr>
      </a:lvl2pPr>
      <a:lvl3pPr marL="977402" algn="l" defTabSz="977402" rtl="0" eaLnBrk="1" latinLnBrk="0" hangingPunct="1">
        <a:defRPr sz="1900" kern="1200">
          <a:solidFill>
            <a:schemeClr val="tx1"/>
          </a:solidFill>
          <a:latin typeface="+mn-lt"/>
          <a:ea typeface="+mn-ea"/>
          <a:cs typeface="+mn-cs"/>
        </a:defRPr>
      </a:lvl3pPr>
      <a:lvl4pPr marL="1466103" algn="l" defTabSz="977402" rtl="0" eaLnBrk="1" latinLnBrk="0" hangingPunct="1">
        <a:defRPr sz="1900" kern="1200">
          <a:solidFill>
            <a:schemeClr val="tx1"/>
          </a:solidFill>
          <a:latin typeface="+mn-lt"/>
          <a:ea typeface="+mn-ea"/>
          <a:cs typeface="+mn-cs"/>
        </a:defRPr>
      </a:lvl4pPr>
      <a:lvl5pPr marL="1954804" algn="l" defTabSz="977402" rtl="0" eaLnBrk="1" latinLnBrk="0" hangingPunct="1">
        <a:defRPr sz="1900" kern="1200">
          <a:solidFill>
            <a:schemeClr val="tx1"/>
          </a:solidFill>
          <a:latin typeface="+mn-lt"/>
          <a:ea typeface="+mn-ea"/>
          <a:cs typeface="+mn-cs"/>
        </a:defRPr>
      </a:lvl5pPr>
      <a:lvl6pPr marL="2443505" algn="l" defTabSz="977402" rtl="0" eaLnBrk="1" latinLnBrk="0" hangingPunct="1">
        <a:defRPr sz="1900" kern="1200">
          <a:solidFill>
            <a:schemeClr val="tx1"/>
          </a:solidFill>
          <a:latin typeface="+mn-lt"/>
          <a:ea typeface="+mn-ea"/>
          <a:cs typeface="+mn-cs"/>
        </a:defRPr>
      </a:lvl6pPr>
      <a:lvl7pPr marL="2932206" algn="l" defTabSz="977402" rtl="0" eaLnBrk="1" latinLnBrk="0" hangingPunct="1">
        <a:defRPr sz="1900" kern="1200">
          <a:solidFill>
            <a:schemeClr val="tx1"/>
          </a:solidFill>
          <a:latin typeface="+mn-lt"/>
          <a:ea typeface="+mn-ea"/>
          <a:cs typeface="+mn-cs"/>
        </a:defRPr>
      </a:lvl7pPr>
      <a:lvl8pPr marL="3420908" algn="l" defTabSz="977402" rtl="0" eaLnBrk="1" latinLnBrk="0" hangingPunct="1">
        <a:defRPr sz="1900" kern="1200">
          <a:solidFill>
            <a:schemeClr val="tx1"/>
          </a:solidFill>
          <a:latin typeface="+mn-lt"/>
          <a:ea typeface="+mn-ea"/>
          <a:cs typeface="+mn-cs"/>
        </a:defRPr>
      </a:lvl8pPr>
      <a:lvl9pPr marL="3909609" algn="l" defTabSz="977402"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 y="0"/>
          <a:ext cx="215979" cy="161974"/>
        </p:xfrm>
        <a:graphic>
          <a:graphicData uri="http://schemas.openxmlformats.org/presentationml/2006/ole">
            <mc:AlternateContent xmlns:mc="http://schemas.openxmlformats.org/markup-compatibility/2006">
              <mc:Choice xmlns:v="urn:schemas-microsoft-com:vml" Requires="v">
                <p:oleObj spid="_x0000_s3137"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 y="0"/>
                        <a:ext cx="215979" cy="161974"/>
                      </a:xfrm>
                      <a:prstGeom prst="rect">
                        <a:avLst/>
                      </a:prstGeom>
                    </p:spPr>
                  </p:pic>
                </p:oleObj>
              </mc:Fallback>
            </mc:AlternateContent>
          </a:graphicData>
        </a:graphic>
      </p:graphicFrame>
      <p:sp>
        <p:nvSpPr>
          <p:cNvPr id="19" name="Title Placeholder 2"/>
          <p:cNvSpPr>
            <a:spLocks noGrp="1" noChangeArrowheads="1"/>
          </p:cNvSpPr>
          <p:nvPr>
            <p:ph type="title"/>
          </p:nvPr>
        </p:nvSpPr>
        <p:spPr bwMode="auto">
          <a:xfrm>
            <a:off x="762002" y="259324"/>
            <a:ext cx="111958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36" name="Rectangle 286"/>
          <p:cNvSpPr>
            <a:spLocks noGrp="1" noChangeArrowheads="1"/>
          </p:cNvSpPr>
          <p:nvPr>
            <p:ph type="body" idx="1"/>
          </p:nvPr>
        </p:nvSpPr>
        <p:spPr bwMode="auto">
          <a:xfrm>
            <a:off x="3169488" y="2772131"/>
            <a:ext cx="585302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0" name="McK 1. On-page tracker" hidden="1"/>
          <p:cNvSpPr>
            <a:spLocks noChangeArrowheads="1"/>
          </p:cNvSpPr>
          <p:nvPr/>
        </p:nvSpPr>
        <p:spPr bwMode="auto">
          <a:xfrm>
            <a:off x="762001"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762002" y="583445"/>
            <a:ext cx="111958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3" name="Slide Elements" hidden="1"/>
          <p:cNvGrpSpPr/>
          <p:nvPr/>
        </p:nvGrpSpPr>
        <p:grpSpPr bwMode="auto">
          <a:xfrm>
            <a:off x="762001" y="6410740"/>
            <a:ext cx="9209681" cy="378599"/>
            <a:chOff x="189522" y="6138331"/>
            <a:chExt cx="9526218" cy="378599"/>
          </a:xfrm>
        </p:grpSpPr>
        <p:sp>
          <p:nvSpPr>
            <p:cNvPr id="13" name="4. Footnote"/>
            <p:cNvSpPr txBox="1">
              <a:spLocks noChangeArrowheads="1"/>
            </p:cNvSpPr>
            <p:nvPr/>
          </p:nvSpPr>
          <p:spPr bwMode="auto">
            <a:xfrm>
              <a:off x="189522" y="6138331"/>
              <a:ext cx="952621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5. Source"/>
            <p:cNvSpPr>
              <a:spLocks noChangeArrowheads="1"/>
            </p:cNvSpPr>
            <p:nvPr/>
          </p:nvSpPr>
          <p:spPr bwMode="auto">
            <a:xfrm>
              <a:off x="189522" y="6363042"/>
              <a:ext cx="952621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69900" indent="-469900" defTabSz="957040" fontAlgn="base">
                <a:spcBef>
                  <a:spcPct val="0"/>
                </a:spcBef>
                <a:spcAft>
                  <a:spcPct val="0"/>
                </a:spcAft>
                <a:tabLst>
                  <a:tab pos="474663" algn="l"/>
                </a:tabLst>
              </a:pPr>
              <a:r>
                <a:rPr lang="en-US" sz="1000" dirty="0" smtClean="0">
                  <a:solidFill>
                    <a:srgbClr val="000000"/>
                  </a:solidFill>
                </a:rPr>
                <a:t>Source: Source</a:t>
              </a:r>
              <a:endParaRPr lang="en-US" sz="1000" dirty="0">
                <a:solidFill>
                  <a:srgbClr val="000000"/>
                </a:solidFill>
              </a:endParaRPr>
            </a:p>
          </p:txBody>
        </p:sp>
      </p:grpSp>
      <p:grpSp>
        <p:nvGrpSpPr>
          <p:cNvPr id="15" name="ACET" hidden="1"/>
          <p:cNvGrpSpPr>
            <a:grpSpLocks/>
          </p:cNvGrpSpPr>
          <p:nvPr/>
        </p:nvGrpSpPr>
        <p:grpSpPr bwMode="auto">
          <a:xfrm>
            <a:off x="3169488" y="2210078"/>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2" name="Slide Number"/>
          <p:cNvSpPr txBox="1">
            <a:spLocks/>
          </p:cNvSpPr>
          <p:nvPr/>
        </p:nvSpPr>
        <p:spPr bwMode="auto">
          <a:xfrm>
            <a:off x="11800740" y="6635450"/>
            <a:ext cx="157094" cy="153888"/>
          </a:xfrm>
          <a:prstGeom prst="rect">
            <a:avLst/>
          </a:prstGeom>
        </p:spPr>
        <p:txBody>
          <a:bodyPr vert="horz" wrap="none" lIns="0" tIns="0" rIns="0" bIns="0" rtlCol="0" anchor="b">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000000"/>
                </a:solidFill>
              </a:rPr>
              <a:pPr algn="r" fontAlgn="base">
                <a:spcBef>
                  <a:spcPct val="0"/>
                </a:spcBef>
                <a:spcAft>
                  <a:spcPct val="0"/>
                </a:spcAft>
              </a:pPr>
              <a:t>‹#›</a:t>
            </a:fld>
            <a:endParaRPr lang="en-US" sz="1000" dirty="0">
              <a:solidFill>
                <a:srgbClr val="000000"/>
              </a:solidFill>
            </a:endParaRPr>
          </a:p>
        </p:txBody>
      </p:sp>
      <p:grpSp>
        <p:nvGrpSpPr>
          <p:cNvPr id="18" name="LegendBoxes" hidden="1"/>
          <p:cNvGrpSpPr>
            <a:grpSpLocks/>
          </p:cNvGrpSpPr>
          <p:nvPr/>
        </p:nvGrpSpPr>
        <p:grpSpPr bwMode="auto">
          <a:xfrm>
            <a:off x="11018031" y="324046"/>
            <a:ext cx="822570" cy="996951"/>
            <a:chOff x="4936" y="176"/>
            <a:chExt cx="421" cy="628"/>
          </a:xfrm>
        </p:grpSpPr>
        <p:sp>
          <p:nvSpPr>
            <p:cNvPr id="20" name="Legend1"/>
            <p:cNvSpPr>
              <a:spLocks noChangeArrowheads="1"/>
            </p:cNvSpPr>
            <p:nvPr/>
          </p:nvSpPr>
          <p:spPr bwMode="auto">
            <a:xfrm>
              <a:off x="5096" y="17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3" name="Legend2"/>
            <p:cNvSpPr>
              <a:spLocks noChangeArrowheads="1"/>
            </p:cNvSpPr>
            <p:nvPr/>
          </p:nvSpPr>
          <p:spPr bwMode="auto">
            <a:xfrm>
              <a:off x="5096" y="34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2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3"/>
            <p:cNvSpPr>
              <a:spLocks noChangeArrowheads="1"/>
            </p:cNvSpPr>
            <p:nvPr/>
          </p:nvSpPr>
          <p:spPr bwMode="auto">
            <a:xfrm>
              <a:off x="5096" y="517"/>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2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4"/>
            <p:cNvSpPr>
              <a:spLocks noChangeArrowheads="1"/>
            </p:cNvSpPr>
            <p:nvPr/>
          </p:nvSpPr>
          <p:spPr bwMode="auto">
            <a:xfrm>
              <a:off x="5096" y="688"/>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2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29" name="LegendLines" hidden="1"/>
          <p:cNvGrpSpPr>
            <a:grpSpLocks/>
          </p:cNvGrpSpPr>
          <p:nvPr/>
        </p:nvGrpSpPr>
        <p:grpSpPr bwMode="auto">
          <a:xfrm>
            <a:off x="10638985" y="324046"/>
            <a:ext cx="1201616" cy="730251"/>
            <a:chOff x="4750" y="176"/>
            <a:chExt cx="615" cy="460"/>
          </a:xfrm>
        </p:grpSpPr>
        <p:sp>
          <p:nvSpPr>
            <p:cNvPr id="3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egend1"/>
            <p:cNvSpPr>
              <a:spLocks noChangeArrowheads="1"/>
            </p:cNvSpPr>
            <p:nvPr/>
          </p:nvSpPr>
          <p:spPr bwMode="auto">
            <a:xfrm>
              <a:off x="5104" y="17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34" name="Legend2"/>
            <p:cNvSpPr>
              <a:spLocks noChangeArrowheads="1"/>
            </p:cNvSpPr>
            <p:nvPr/>
          </p:nvSpPr>
          <p:spPr bwMode="auto">
            <a:xfrm>
              <a:off x="5104" y="344"/>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35" name="Legend3"/>
            <p:cNvSpPr>
              <a:spLocks noChangeArrowheads="1"/>
            </p:cNvSpPr>
            <p:nvPr/>
          </p:nvSpPr>
          <p:spPr bwMode="auto">
            <a:xfrm>
              <a:off x="5104" y="520"/>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grpSp>
      <p:grpSp>
        <p:nvGrpSpPr>
          <p:cNvPr id="36" name="McKSticker" hidden="1"/>
          <p:cNvGrpSpPr/>
          <p:nvPr/>
        </p:nvGrpSpPr>
        <p:grpSpPr bwMode="auto">
          <a:xfrm>
            <a:off x="10890937" y="324045"/>
            <a:ext cx="1066895" cy="212366"/>
            <a:chOff x="7873923" y="285750"/>
            <a:chExt cx="866852" cy="212366"/>
          </a:xfrm>
        </p:grpSpPr>
        <p:sp>
          <p:nvSpPr>
            <p:cNvPr id="37" name="StickerRectangle"/>
            <p:cNvSpPr>
              <a:spLocks noChangeArrowheads="1"/>
            </p:cNvSpPr>
            <p:nvPr/>
          </p:nvSpPr>
          <p:spPr bwMode="auto">
            <a:xfrm>
              <a:off x="7873923" y="285750"/>
              <a:ext cx="866852"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E31B23"/>
                </a:buClr>
              </a:pPr>
              <a:r>
                <a:rPr lang="en-US" sz="1200" dirty="0">
                  <a:solidFill>
                    <a:srgbClr val="808080"/>
                  </a:solidFill>
                </a:rPr>
                <a:t>PRELIMINARY</a:t>
              </a:r>
            </a:p>
          </p:txBody>
        </p:sp>
        <p:cxnSp>
          <p:nvCxnSpPr>
            <p:cNvPr id="38" name="AutoShape 31"/>
            <p:cNvCxnSpPr>
              <a:cxnSpLocks noChangeShapeType="1"/>
              <a:stCxn id="37" idx="2"/>
              <a:endCxn id="37" idx="4"/>
            </p:cNvCxnSpPr>
            <p:nvPr/>
          </p:nvCxnSpPr>
          <p:spPr bwMode="auto">
            <a:xfrm>
              <a:off x="7873923"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9" name="AutoShape 32"/>
            <p:cNvCxnSpPr>
              <a:cxnSpLocks noChangeShapeType="1"/>
              <a:stCxn id="37" idx="4"/>
              <a:endCxn id="37" idx="6"/>
            </p:cNvCxnSpPr>
            <p:nvPr/>
          </p:nvCxnSpPr>
          <p:spPr bwMode="auto">
            <a:xfrm>
              <a:off x="7873923" y="498116"/>
              <a:ext cx="86685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auto">
          <a:xfrm>
            <a:off x="10935763" y="324045"/>
            <a:ext cx="904432" cy="1306516"/>
            <a:chOff x="5428012" y="273840"/>
            <a:chExt cx="734851" cy="1306516"/>
          </a:xfrm>
        </p:grpSpPr>
        <p:sp>
          <p:nvSpPr>
            <p:cNvPr id="44" name="Legend1"/>
            <p:cNvSpPr>
              <a:spLocks noChangeArrowheads="1"/>
            </p:cNvSpPr>
            <p:nvPr/>
          </p:nvSpPr>
          <p:spPr bwMode="auto">
            <a:xfrm>
              <a:off x="5748687" y="286540"/>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dirty="0">
                  <a:solidFill>
                    <a:srgbClr val="000000"/>
                  </a:solidFill>
                </a:rPr>
                <a:t>Legend</a:t>
              </a:r>
            </a:p>
          </p:txBody>
        </p:sp>
        <p:sp>
          <p:nvSpPr>
            <p:cNvPr id="45" name="Legend2"/>
            <p:cNvSpPr>
              <a:spLocks noChangeArrowheads="1"/>
            </p:cNvSpPr>
            <p:nvPr/>
          </p:nvSpPr>
          <p:spPr bwMode="auto">
            <a:xfrm>
              <a:off x="5748687" y="561178"/>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dirty="0">
                  <a:solidFill>
                    <a:srgbClr val="000000"/>
                  </a:solidFill>
                </a:rPr>
                <a:t>Legend</a:t>
              </a:r>
            </a:p>
          </p:txBody>
        </p:sp>
        <p:sp>
          <p:nvSpPr>
            <p:cNvPr id="46" name="Legend3"/>
            <p:cNvSpPr>
              <a:spLocks noChangeArrowheads="1"/>
            </p:cNvSpPr>
            <p:nvPr/>
          </p:nvSpPr>
          <p:spPr bwMode="auto">
            <a:xfrm>
              <a:off x="5748687" y="835817"/>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dirty="0">
                  <a:solidFill>
                    <a:srgbClr val="000000"/>
                  </a:solidFill>
                </a:rPr>
                <a:t>Legend</a:t>
              </a:r>
            </a:p>
          </p:txBody>
        </p:sp>
        <p:sp>
          <p:nvSpPr>
            <p:cNvPr id="47" name="Legend4"/>
            <p:cNvSpPr>
              <a:spLocks noChangeArrowheads="1"/>
            </p:cNvSpPr>
            <p:nvPr/>
          </p:nvSpPr>
          <p:spPr bwMode="auto">
            <a:xfrm>
              <a:off x="5748687" y="1107280"/>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a:solidFill>
                    <a:srgbClr val="000000"/>
                  </a:solidFill>
                </a:rPr>
                <a:t>Legend</a:t>
              </a:r>
            </a:p>
          </p:txBody>
        </p:sp>
        <p:sp>
          <p:nvSpPr>
            <p:cNvPr id="48" name="Legend5"/>
            <p:cNvSpPr>
              <a:spLocks noChangeArrowheads="1"/>
            </p:cNvSpPr>
            <p:nvPr/>
          </p:nvSpPr>
          <p:spPr bwMode="auto">
            <a:xfrm>
              <a:off x="5748687" y="1383505"/>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E31B23"/>
                </a:buClr>
              </a:pPr>
              <a:r>
                <a:rPr lang="en-US" sz="1200" dirty="0">
                  <a:solidFill>
                    <a:srgbClr val="000000"/>
                  </a:solidFill>
                </a:rPr>
                <a:t>Legend</a:t>
              </a:r>
            </a:p>
          </p:txBody>
        </p:sp>
        <p:grpSp>
          <p:nvGrpSpPr>
            <p:cNvPr id="49" name="MoonLegend1"/>
            <p:cNvGrpSpPr>
              <a:grpSpLocks noChangeAspect="1"/>
            </p:cNvGrpSpPr>
            <p:nvPr userDrawn="1">
              <p:custDataLst>
                <p:tags r:id="rId8"/>
              </p:custDataLst>
            </p:nvPr>
          </p:nvGrpSpPr>
          <p:grpSpPr bwMode="auto">
            <a:xfrm>
              <a:off x="5428012" y="273840"/>
              <a:ext cx="209550" cy="209551"/>
              <a:chOff x="1694" y="2044"/>
              <a:chExt cx="160" cy="160"/>
            </a:xfrm>
          </p:grpSpPr>
          <p:sp>
            <p:nvSpPr>
              <p:cNvPr id="6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3"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50" name="MoonLegend2"/>
            <p:cNvGrpSpPr>
              <a:grpSpLocks noChangeAspect="1"/>
            </p:cNvGrpSpPr>
            <p:nvPr userDrawn="1">
              <p:custDataLst>
                <p:tags r:id="rId9"/>
              </p:custDataLst>
            </p:nvPr>
          </p:nvGrpSpPr>
          <p:grpSpPr bwMode="auto">
            <a:xfrm>
              <a:off x="5428012" y="548081"/>
              <a:ext cx="209550" cy="209551"/>
              <a:chOff x="1694" y="2044"/>
              <a:chExt cx="160" cy="160"/>
            </a:xfrm>
          </p:grpSpPr>
          <p:sp>
            <p:nvSpPr>
              <p:cNvPr id="6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1"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51" name="MoonLegend3"/>
            <p:cNvGrpSpPr>
              <a:grpSpLocks noChangeAspect="1"/>
            </p:cNvGrpSpPr>
            <p:nvPr userDrawn="1">
              <p:custDataLst>
                <p:tags r:id="rId10"/>
              </p:custDataLst>
            </p:nvPr>
          </p:nvGrpSpPr>
          <p:grpSpPr bwMode="auto">
            <a:xfrm>
              <a:off x="5428012" y="822322"/>
              <a:ext cx="209550" cy="209551"/>
              <a:chOff x="1694" y="2044"/>
              <a:chExt cx="160" cy="160"/>
            </a:xfrm>
          </p:grpSpPr>
          <p:sp>
            <p:nvSpPr>
              <p:cNvPr id="58"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59" name="Arc 42"/>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52" name="MoonLegend4"/>
            <p:cNvGrpSpPr>
              <a:grpSpLocks noChangeAspect="1"/>
            </p:cNvGrpSpPr>
            <p:nvPr userDrawn="1">
              <p:custDataLst>
                <p:tags r:id="rId11"/>
              </p:custDataLst>
            </p:nvPr>
          </p:nvGrpSpPr>
          <p:grpSpPr bwMode="auto">
            <a:xfrm>
              <a:off x="5428012" y="1096563"/>
              <a:ext cx="209550" cy="209551"/>
              <a:chOff x="1694" y="2044"/>
              <a:chExt cx="160" cy="160"/>
            </a:xfrm>
          </p:grpSpPr>
          <p:sp>
            <p:nvSpPr>
              <p:cNvPr id="56"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57" name="Arc 42"/>
              <p:cNvSpPr>
                <a:spLocks noChangeAspect="1"/>
              </p:cNvSpPr>
              <p:nvPr>
                <p:custDataLst>
                  <p:tags r:id="rId16"/>
                </p:custDataLst>
              </p:nvPr>
            </p:nvSpPr>
            <p:spPr bwMode="auto">
              <a:xfrm>
                <a:off x="1694" y="204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53" name="MoonLegend5"/>
            <p:cNvGrpSpPr>
              <a:grpSpLocks noChangeAspect="1"/>
            </p:cNvGrpSpPr>
            <p:nvPr userDrawn="1">
              <p:custDataLst>
                <p:tags r:id="rId12"/>
              </p:custDataLst>
            </p:nvPr>
          </p:nvGrpSpPr>
          <p:grpSpPr bwMode="auto">
            <a:xfrm>
              <a:off x="5428012" y="1370805"/>
              <a:ext cx="209550" cy="209551"/>
              <a:chOff x="1694" y="2044"/>
              <a:chExt cx="160" cy="160"/>
            </a:xfrm>
          </p:grpSpPr>
          <p:sp>
            <p:nvSpPr>
              <p:cNvPr id="54"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55" name="Arc 42"/>
              <p:cNvSpPr>
                <a:spLocks noChangeAspect="1"/>
              </p:cNvSpPr>
              <p:nvPr>
                <p:custDataLst>
                  <p:tags r:id="rId14"/>
                </p:custDataLst>
              </p:nvPr>
            </p:nvSpPr>
            <p:spPr bwMode="auto">
              <a:xfrm>
                <a:off x="1694" y="2044"/>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66" name="Picture Placeholder 6"/>
          <p:cNvPicPr>
            <a:picLocks noChangeAspect="1"/>
          </p:cNvPicPr>
          <p:nvPr userDrawn="1"/>
        </p:nvPicPr>
        <p:blipFill rotWithShape="1">
          <a:blip r:embed="rId25" cstate="screen">
            <a:extLst>
              <a:ext uri="{28A0092B-C50C-407E-A947-70E740481C1C}">
                <a14:useLocalDpi xmlns:a14="http://schemas.microsoft.com/office/drawing/2010/main"/>
              </a:ext>
            </a:extLst>
          </a:blip>
          <a:srcRect/>
          <a:stretch/>
        </p:blipFill>
        <p:spPr bwMode="ltGray">
          <a:xfrm>
            <a:off x="3" y="0"/>
            <a:ext cx="457200" cy="6858000"/>
          </a:xfrm>
          <a:prstGeom prst="rect">
            <a:avLst/>
          </a:prstGeom>
        </p:spPr>
      </p:pic>
      <p:sp>
        <p:nvSpPr>
          <p:cNvPr id="67" name="Rectangle 66"/>
          <p:cNvSpPr/>
          <p:nvPr userDrawn="1"/>
        </p:nvSpPr>
        <p:spPr bwMode="ltGray">
          <a:xfrm>
            <a:off x="457201" y="0"/>
            <a:ext cx="118873" cy="6858000"/>
          </a:xfrm>
          <a:prstGeom prst="rect">
            <a:avLst/>
          </a:prstGeom>
          <a:solidFill>
            <a:srgbClr val="E31B23"/>
          </a:solidFill>
          <a:ln w="25400" cap="flat" cmpd="sng" algn="ctr">
            <a:noFill/>
            <a:prstDash val="solid"/>
          </a:ln>
          <a:effectLst/>
        </p:spPr>
        <p:txBody>
          <a:bodyPr rtlCol="0" anchor="ctr"/>
          <a:lstStyle/>
          <a:p>
            <a:pPr algn="ctr">
              <a:defRPr/>
            </a:pPr>
            <a:endParaRPr lang="en-US" sz="1800" kern="0" dirty="0">
              <a:solidFill>
                <a:srgbClr val="FFFFFF"/>
              </a:solidFill>
            </a:endParaRPr>
          </a:p>
        </p:txBody>
      </p:sp>
      <p:sp>
        <p:nvSpPr>
          <p:cNvPr id="65" name="Freeform 5"/>
          <p:cNvSpPr>
            <a:spLocks noEditPoints="1"/>
          </p:cNvSpPr>
          <p:nvPr userDrawn="1"/>
        </p:nvSpPr>
        <p:spPr bwMode="ltGray">
          <a:xfrm>
            <a:off x="10433962" y="6455966"/>
            <a:ext cx="1058954" cy="309562"/>
          </a:xfrm>
          <a:custGeom>
            <a:avLst/>
            <a:gdLst>
              <a:gd name="T0" fmla="*/ 2400 w 2814"/>
              <a:gd name="T1" fmla="*/ 18 h 1010"/>
              <a:gd name="T2" fmla="*/ 2124 w 2814"/>
              <a:gd name="T3" fmla="*/ 18 h 1010"/>
              <a:gd name="T4" fmla="*/ 1799 w 2814"/>
              <a:gd name="T5" fmla="*/ 783 h 1010"/>
              <a:gd name="T6" fmla="*/ 1799 w 2814"/>
              <a:gd name="T7" fmla="*/ 414 h 1010"/>
              <a:gd name="T8" fmla="*/ 1273 w 2814"/>
              <a:gd name="T9" fmla="*/ 414 h 1010"/>
              <a:gd name="T10" fmla="*/ 1273 w 2814"/>
              <a:gd name="T11" fmla="*/ 630 h 1010"/>
              <a:gd name="T12" fmla="*/ 1536 w 2814"/>
              <a:gd name="T13" fmla="*/ 630 h 1010"/>
              <a:gd name="T14" fmla="*/ 1309 w 2814"/>
              <a:gd name="T15" fmla="*/ 764 h 1010"/>
              <a:gd name="T16" fmla="*/ 1050 w 2814"/>
              <a:gd name="T17" fmla="*/ 504 h 1010"/>
              <a:gd name="T18" fmla="*/ 1309 w 2814"/>
              <a:gd name="T19" fmla="*/ 245 h 1010"/>
              <a:gd name="T20" fmla="*/ 1521 w 2814"/>
              <a:gd name="T21" fmla="*/ 355 h 1010"/>
              <a:gd name="T22" fmla="*/ 1679 w 2814"/>
              <a:gd name="T23" fmla="*/ 163 h 1010"/>
              <a:gd name="T24" fmla="*/ 1309 w 2814"/>
              <a:gd name="T25" fmla="*/ 0 h 1010"/>
              <a:gd name="T26" fmla="*/ 857 w 2814"/>
              <a:gd name="T27" fmla="*/ 282 h 1010"/>
              <a:gd name="T28" fmla="*/ 776 w 2814"/>
              <a:gd name="T29" fmla="*/ 126 h 1010"/>
              <a:gd name="T30" fmla="*/ 461 w 2814"/>
              <a:gd name="T31" fmla="*/ 20 h 1010"/>
              <a:gd name="T32" fmla="*/ 0 w 2814"/>
              <a:gd name="T33" fmla="*/ 20 h 1010"/>
              <a:gd name="T34" fmla="*/ 0 w 2814"/>
              <a:gd name="T35" fmla="*/ 990 h 1010"/>
              <a:gd name="T36" fmla="*/ 287 w 2814"/>
              <a:gd name="T37" fmla="*/ 990 h 1010"/>
              <a:gd name="T38" fmla="*/ 287 w 2814"/>
              <a:gd name="T39" fmla="*/ 678 h 1010"/>
              <a:gd name="T40" fmla="*/ 585 w 2814"/>
              <a:gd name="T41" fmla="*/ 990 h 1010"/>
              <a:gd name="T42" fmla="*/ 935 w 2814"/>
              <a:gd name="T43" fmla="*/ 990 h 1010"/>
              <a:gd name="T44" fmla="*/ 646 w 2814"/>
              <a:gd name="T45" fmla="*/ 688 h 1010"/>
              <a:gd name="T46" fmla="*/ 776 w 2814"/>
              <a:gd name="T47" fmla="*/ 612 h 1010"/>
              <a:gd name="T48" fmla="*/ 810 w 2814"/>
              <a:gd name="T49" fmla="*/ 572 h 1010"/>
              <a:gd name="T50" fmla="*/ 1309 w 2814"/>
              <a:gd name="T51" fmla="*/ 1010 h 1010"/>
              <a:gd name="T52" fmla="*/ 1583 w 2814"/>
              <a:gd name="T53" fmla="*/ 928 h 1010"/>
              <a:gd name="T54" fmla="*/ 1583 w 2814"/>
              <a:gd name="T55" fmla="*/ 990 h 1010"/>
              <a:gd name="T56" fmla="*/ 2021 w 2814"/>
              <a:gd name="T57" fmla="*/ 990 h 1010"/>
              <a:gd name="T58" fmla="*/ 2081 w 2814"/>
              <a:gd name="T59" fmla="*/ 848 h 1010"/>
              <a:gd name="T60" fmla="*/ 2443 w 2814"/>
              <a:gd name="T61" fmla="*/ 848 h 1010"/>
              <a:gd name="T62" fmla="*/ 2504 w 2814"/>
              <a:gd name="T63" fmla="*/ 990 h 1010"/>
              <a:gd name="T64" fmla="*/ 2814 w 2814"/>
              <a:gd name="T65" fmla="*/ 990 h 1010"/>
              <a:gd name="T66" fmla="*/ 2400 w 2814"/>
              <a:gd name="T67" fmla="*/ 18 h 1010"/>
              <a:gd name="T68" fmla="*/ 574 w 2814"/>
              <a:gd name="T69" fmla="*/ 365 h 1010"/>
              <a:gd name="T70" fmla="*/ 447 w 2814"/>
              <a:gd name="T71" fmla="*/ 463 h 1010"/>
              <a:gd name="T72" fmla="*/ 287 w 2814"/>
              <a:gd name="T73" fmla="*/ 463 h 1010"/>
              <a:gd name="T74" fmla="*/ 287 w 2814"/>
              <a:gd name="T75" fmla="*/ 264 h 1010"/>
              <a:gd name="T76" fmla="*/ 446 w 2814"/>
              <a:gd name="T77" fmla="*/ 264 h 1010"/>
              <a:gd name="T78" fmla="*/ 574 w 2814"/>
              <a:gd name="T79" fmla="*/ 362 h 1010"/>
              <a:gd name="T80" fmla="*/ 574 w 2814"/>
              <a:gd name="T81" fmla="*/ 365 h 1010"/>
              <a:gd name="T82" fmla="*/ 2166 w 2814"/>
              <a:gd name="T83" fmla="*/ 629 h 1010"/>
              <a:gd name="T84" fmla="*/ 2262 w 2814"/>
              <a:gd name="T85" fmla="*/ 386 h 1010"/>
              <a:gd name="T86" fmla="*/ 2361 w 2814"/>
              <a:gd name="T87" fmla="*/ 629 h 1010"/>
              <a:gd name="T88" fmla="*/ 2166 w 2814"/>
              <a:gd name="T89" fmla="*/ 629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14" h="1010">
                <a:moveTo>
                  <a:pt x="2400" y="18"/>
                </a:moveTo>
                <a:cubicBezTo>
                  <a:pt x="2124" y="18"/>
                  <a:pt x="2124" y="18"/>
                  <a:pt x="2124" y="18"/>
                </a:cubicBezTo>
                <a:cubicBezTo>
                  <a:pt x="1799" y="783"/>
                  <a:pt x="1799" y="783"/>
                  <a:pt x="1799" y="783"/>
                </a:cubicBezTo>
                <a:cubicBezTo>
                  <a:pt x="1799" y="414"/>
                  <a:pt x="1799" y="414"/>
                  <a:pt x="1799" y="414"/>
                </a:cubicBezTo>
                <a:cubicBezTo>
                  <a:pt x="1273" y="414"/>
                  <a:pt x="1273" y="414"/>
                  <a:pt x="1273" y="414"/>
                </a:cubicBezTo>
                <a:cubicBezTo>
                  <a:pt x="1273" y="630"/>
                  <a:pt x="1273" y="630"/>
                  <a:pt x="1273" y="630"/>
                </a:cubicBezTo>
                <a:cubicBezTo>
                  <a:pt x="1536" y="630"/>
                  <a:pt x="1536" y="630"/>
                  <a:pt x="1536" y="630"/>
                </a:cubicBezTo>
                <a:cubicBezTo>
                  <a:pt x="1492" y="710"/>
                  <a:pt x="1407" y="764"/>
                  <a:pt x="1309" y="764"/>
                </a:cubicBezTo>
                <a:cubicBezTo>
                  <a:pt x="1166" y="764"/>
                  <a:pt x="1050" y="648"/>
                  <a:pt x="1050" y="504"/>
                </a:cubicBezTo>
                <a:cubicBezTo>
                  <a:pt x="1050" y="361"/>
                  <a:pt x="1166" y="245"/>
                  <a:pt x="1309" y="245"/>
                </a:cubicBezTo>
                <a:cubicBezTo>
                  <a:pt x="1396" y="245"/>
                  <a:pt x="1474" y="289"/>
                  <a:pt x="1521" y="355"/>
                </a:cubicBezTo>
                <a:cubicBezTo>
                  <a:pt x="1679" y="163"/>
                  <a:pt x="1679" y="163"/>
                  <a:pt x="1679" y="163"/>
                </a:cubicBezTo>
                <a:cubicBezTo>
                  <a:pt x="1587" y="63"/>
                  <a:pt x="1455" y="0"/>
                  <a:pt x="1309" y="0"/>
                </a:cubicBezTo>
                <a:cubicBezTo>
                  <a:pt x="1110" y="0"/>
                  <a:pt x="939" y="115"/>
                  <a:pt x="857" y="282"/>
                </a:cubicBezTo>
                <a:cubicBezTo>
                  <a:pt x="845" y="220"/>
                  <a:pt x="818" y="168"/>
                  <a:pt x="776" y="126"/>
                </a:cubicBezTo>
                <a:cubicBezTo>
                  <a:pt x="707" y="56"/>
                  <a:pt x="601" y="21"/>
                  <a:pt x="461" y="20"/>
                </a:cubicBezTo>
                <a:cubicBezTo>
                  <a:pt x="0" y="20"/>
                  <a:pt x="0" y="20"/>
                  <a:pt x="0" y="20"/>
                </a:cubicBezTo>
                <a:cubicBezTo>
                  <a:pt x="0" y="990"/>
                  <a:pt x="0" y="990"/>
                  <a:pt x="0" y="990"/>
                </a:cubicBezTo>
                <a:cubicBezTo>
                  <a:pt x="287" y="990"/>
                  <a:pt x="287" y="990"/>
                  <a:pt x="287" y="990"/>
                </a:cubicBezTo>
                <a:cubicBezTo>
                  <a:pt x="287" y="678"/>
                  <a:pt x="287" y="678"/>
                  <a:pt x="287" y="678"/>
                </a:cubicBezTo>
                <a:cubicBezTo>
                  <a:pt x="585" y="990"/>
                  <a:pt x="585" y="990"/>
                  <a:pt x="585" y="990"/>
                </a:cubicBezTo>
                <a:cubicBezTo>
                  <a:pt x="935" y="990"/>
                  <a:pt x="935" y="990"/>
                  <a:pt x="935" y="990"/>
                </a:cubicBezTo>
                <a:cubicBezTo>
                  <a:pt x="646" y="688"/>
                  <a:pt x="646" y="688"/>
                  <a:pt x="646" y="688"/>
                </a:cubicBezTo>
                <a:cubicBezTo>
                  <a:pt x="695" y="670"/>
                  <a:pt x="743" y="645"/>
                  <a:pt x="776" y="612"/>
                </a:cubicBezTo>
                <a:cubicBezTo>
                  <a:pt x="788" y="599"/>
                  <a:pt x="800" y="586"/>
                  <a:pt x="810" y="572"/>
                </a:cubicBezTo>
                <a:cubicBezTo>
                  <a:pt x="842" y="819"/>
                  <a:pt x="1053" y="1010"/>
                  <a:pt x="1309" y="1010"/>
                </a:cubicBezTo>
                <a:cubicBezTo>
                  <a:pt x="1410" y="1010"/>
                  <a:pt x="1504" y="980"/>
                  <a:pt x="1583" y="928"/>
                </a:cubicBezTo>
                <a:cubicBezTo>
                  <a:pt x="1583" y="990"/>
                  <a:pt x="1583" y="990"/>
                  <a:pt x="1583" y="990"/>
                </a:cubicBezTo>
                <a:cubicBezTo>
                  <a:pt x="2021" y="990"/>
                  <a:pt x="2021" y="990"/>
                  <a:pt x="2021" y="990"/>
                </a:cubicBezTo>
                <a:cubicBezTo>
                  <a:pt x="2081" y="848"/>
                  <a:pt x="2081" y="848"/>
                  <a:pt x="2081" y="848"/>
                </a:cubicBezTo>
                <a:cubicBezTo>
                  <a:pt x="2443" y="848"/>
                  <a:pt x="2443" y="848"/>
                  <a:pt x="2443" y="848"/>
                </a:cubicBezTo>
                <a:cubicBezTo>
                  <a:pt x="2504" y="990"/>
                  <a:pt x="2504" y="990"/>
                  <a:pt x="2504" y="990"/>
                </a:cubicBezTo>
                <a:cubicBezTo>
                  <a:pt x="2814" y="990"/>
                  <a:pt x="2814" y="990"/>
                  <a:pt x="2814" y="990"/>
                </a:cubicBezTo>
                <a:lnTo>
                  <a:pt x="2400" y="18"/>
                </a:lnTo>
                <a:close/>
                <a:moveTo>
                  <a:pt x="574" y="365"/>
                </a:moveTo>
                <a:cubicBezTo>
                  <a:pt x="574" y="427"/>
                  <a:pt x="528" y="463"/>
                  <a:pt x="447" y="463"/>
                </a:cubicBezTo>
                <a:cubicBezTo>
                  <a:pt x="287" y="463"/>
                  <a:pt x="287" y="463"/>
                  <a:pt x="287" y="463"/>
                </a:cubicBezTo>
                <a:cubicBezTo>
                  <a:pt x="287" y="264"/>
                  <a:pt x="287" y="264"/>
                  <a:pt x="287" y="264"/>
                </a:cubicBezTo>
                <a:cubicBezTo>
                  <a:pt x="446" y="264"/>
                  <a:pt x="446" y="264"/>
                  <a:pt x="446" y="264"/>
                </a:cubicBezTo>
                <a:cubicBezTo>
                  <a:pt x="504" y="264"/>
                  <a:pt x="574" y="281"/>
                  <a:pt x="574" y="362"/>
                </a:cubicBezTo>
                <a:lnTo>
                  <a:pt x="574" y="365"/>
                </a:lnTo>
                <a:close/>
                <a:moveTo>
                  <a:pt x="2166" y="629"/>
                </a:moveTo>
                <a:cubicBezTo>
                  <a:pt x="2262" y="386"/>
                  <a:pt x="2262" y="386"/>
                  <a:pt x="2262" y="386"/>
                </a:cubicBezTo>
                <a:cubicBezTo>
                  <a:pt x="2361" y="629"/>
                  <a:pt x="2361" y="629"/>
                  <a:pt x="2361" y="629"/>
                </a:cubicBezTo>
                <a:lnTo>
                  <a:pt x="2166" y="629"/>
                </a:lnTo>
                <a:close/>
              </a:path>
            </a:pathLst>
          </a:custGeom>
          <a:solidFill>
            <a:srgbClr val="E31B23"/>
          </a:solidFill>
          <a:ln>
            <a:noFill/>
          </a:ln>
        </p:spPr>
        <p:txBody>
          <a:bodyPr vert="horz" wrap="square" lIns="91440" tIns="45720" rIns="91440" bIns="45720" numCol="1" anchor="t" anchorCtr="0" compatLnSpc="1">
            <a:prstTxWarp prst="textNoShape">
              <a:avLst/>
            </a:prstTxWarp>
          </a:bodyPr>
          <a:lstStyle/>
          <a:p>
            <a:pPr>
              <a:defRPr/>
            </a:pPr>
            <a:endParaRPr lang="en-US" sz="1800" kern="0" dirty="0">
              <a:solidFill>
                <a:sysClr val="windowText" lastClr="000000"/>
              </a:solidFill>
            </a:endParaRPr>
          </a:p>
        </p:txBody>
      </p:sp>
    </p:spTree>
    <p:extLst>
      <p:ext uri="{BB962C8B-B14F-4D97-AF65-F5344CB8AC3E}">
        <p14:creationId xmlns:p14="http://schemas.microsoft.com/office/powerpoint/2010/main" val="340488159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timing>
    <p:tnLst>
      <p:par>
        <p:cTn id="1" dur="indefinite" restart="never" nodeType="tmRoot"/>
      </p:par>
    </p:tnLst>
  </p:timing>
  <p:hf hdr="0" ftr="0" dt="0"/>
  <p:txStyles>
    <p:titleStyle>
      <a:lvl1pPr algn="l" defTabSz="957040" rtl="0" eaLnBrk="1" fontAlgn="base" hangingPunct="1">
        <a:spcBef>
          <a:spcPct val="0"/>
        </a:spcBef>
        <a:spcAft>
          <a:spcPct val="0"/>
        </a:spcAft>
        <a:tabLst>
          <a:tab pos="288469" algn="l"/>
        </a:tabLst>
        <a:defRPr sz="2000" b="1" baseline="0">
          <a:solidFill>
            <a:schemeClr val="tx2"/>
          </a:solidFill>
          <a:latin typeface="+mj-lt"/>
          <a:ea typeface="+mj-ea"/>
          <a:cs typeface="+mj-cs"/>
        </a:defRPr>
      </a:lvl1pPr>
      <a:lvl2pPr algn="l" defTabSz="957040" rtl="0" eaLnBrk="1" fontAlgn="base" hangingPunct="1">
        <a:spcBef>
          <a:spcPct val="0"/>
        </a:spcBef>
        <a:spcAft>
          <a:spcPct val="0"/>
        </a:spcAft>
        <a:defRPr sz="2000" b="1">
          <a:solidFill>
            <a:schemeClr val="tx2"/>
          </a:solidFill>
          <a:latin typeface="Arial" charset="0"/>
        </a:defRPr>
      </a:lvl2pPr>
      <a:lvl3pPr algn="l" defTabSz="957040" rtl="0" eaLnBrk="1" fontAlgn="base" hangingPunct="1">
        <a:spcBef>
          <a:spcPct val="0"/>
        </a:spcBef>
        <a:spcAft>
          <a:spcPct val="0"/>
        </a:spcAft>
        <a:defRPr sz="2000" b="1">
          <a:solidFill>
            <a:schemeClr val="tx2"/>
          </a:solidFill>
          <a:latin typeface="Arial" charset="0"/>
        </a:defRPr>
      </a:lvl3pPr>
      <a:lvl4pPr algn="l" defTabSz="957040" rtl="0" eaLnBrk="1" fontAlgn="base" hangingPunct="1">
        <a:spcBef>
          <a:spcPct val="0"/>
        </a:spcBef>
        <a:spcAft>
          <a:spcPct val="0"/>
        </a:spcAft>
        <a:defRPr sz="2000" b="1">
          <a:solidFill>
            <a:schemeClr val="tx2"/>
          </a:solidFill>
          <a:latin typeface="Arial" charset="0"/>
        </a:defRPr>
      </a:lvl4pPr>
      <a:lvl5pPr algn="l" defTabSz="957040" rtl="0" eaLnBrk="1" fontAlgn="base" hangingPunct="1">
        <a:spcBef>
          <a:spcPct val="0"/>
        </a:spcBef>
        <a:spcAft>
          <a:spcPct val="0"/>
        </a:spcAft>
        <a:defRPr sz="2000" b="1">
          <a:solidFill>
            <a:schemeClr val="tx2"/>
          </a:solidFill>
          <a:latin typeface="Arial" charset="0"/>
        </a:defRPr>
      </a:lvl5pPr>
      <a:lvl6pPr marL="488701" algn="l" defTabSz="957040" rtl="0" eaLnBrk="1" fontAlgn="base" hangingPunct="1">
        <a:spcBef>
          <a:spcPct val="0"/>
        </a:spcBef>
        <a:spcAft>
          <a:spcPct val="0"/>
        </a:spcAft>
        <a:defRPr sz="2000" b="1">
          <a:solidFill>
            <a:schemeClr val="tx2"/>
          </a:solidFill>
          <a:latin typeface="Arial" charset="0"/>
        </a:defRPr>
      </a:lvl6pPr>
      <a:lvl7pPr marL="977402" algn="l" defTabSz="957040" rtl="0" eaLnBrk="1" fontAlgn="base" hangingPunct="1">
        <a:spcBef>
          <a:spcPct val="0"/>
        </a:spcBef>
        <a:spcAft>
          <a:spcPct val="0"/>
        </a:spcAft>
        <a:defRPr sz="2000" b="1">
          <a:solidFill>
            <a:schemeClr val="tx2"/>
          </a:solidFill>
          <a:latin typeface="Arial" charset="0"/>
        </a:defRPr>
      </a:lvl7pPr>
      <a:lvl8pPr marL="1466103" algn="l" defTabSz="957040" rtl="0" eaLnBrk="1" fontAlgn="base" hangingPunct="1">
        <a:spcBef>
          <a:spcPct val="0"/>
        </a:spcBef>
        <a:spcAft>
          <a:spcPct val="0"/>
        </a:spcAft>
        <a:defRPr sz="2000" b="1">
          <a:solidFill>
            <a:schemeClr val="tx2"/>
          </a:solidFill>
          <a:latin typeface="Arial" charset="0"/>
        </a:defRPr>
      </a:lvl8pPr>
      <a:lvl9pPr marL="1954804" algn="l" defTabSz="957040" rtl="0" eaLnBrk="1" fontAlgn="base" hangingPunct="1">
        <a:spcBef>
          <a:spcPct val="0"/>
        </a:spcBef>
        <a:spcAft>
          <a:spcPct val="0"/>
        </a:spcAft>
        <a:defRPr sz="2000" b="1">
          <a:solidFill>
            <a:schemeClr val="tx2"/>
          </a:solidFill>
          <a:latin typeface="Arial" charset="0"/>
        </a:defRPr>
      </a:lvl9pPr>
    </p:titleStyle>
    <p:bodyStyle>
      <a:lvl1pPr marL="0" indent="0" algn="l" defTabSz="95704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207019" indent="-205323" algn="l" defTabSz="95704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88701" indent="-279986" algn="l" defTabSz="95704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56693" indent="-166294" algn="l" defTabSz="95704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801470" indent="-139144" algn="l" defTabSz="95704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6pPr>
      <a:lvl7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7pPr>
      <a:lvl8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8pPr>
      <a:lvl9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9pPr>
    </p:bodyStyle>
    <p:otherStyle>
      <a:defPPr>
        <a:defRPr lang="en-US"/>
      </a:defPPr>
      <a:lvl1pPr marL="0" algn="l" defTabSz="977402" rtl="0" eaLnBrk="1" latinLnBrk="0" hangingPunct="1">
        <a:defRPr sz="1900" kern="1200">
          <a:solidFill>
            <a:schemeClr val="tx1"/>
          </a:solidFill>
          <a:latin typeface="+mn-lt"/>
          <a:ea typeface="+mn-ea"/>
          <a:cs typeface="+mn-cs"/>
        </a:defRPr>
      </a:lvl1pPr>
      <a:lvl2pPr marL="488701" algn="l" defTabSz="977402" rtl="0" eaLnBrk="1" latinLnBrk="0" hangingPunct="1">
        <a:defRPr sz="1900" kern="1200">
          <a:solidFill>
            <a:schemeClr val="tx1"/>
          </a:solidFill>
          <a:latin typeface="+mn-lt"/>
          <a:ea typeface="+mn-ea"/>
          <a:cs typeface="+mn-cs"/>
        </a:defRPr>
      </a:lvl2pPr>
      <a:lvl3pPr marL="977402" algn="l" defTabSz="977402" rtl="0" eaLnBrk="1" latinLnBrk="0" hangingPunct="1">
        <a:defRPr sz="1900" kern="1200">
          <a:solidFill>
            <a:schemeClr val="tx1"/>
          </a:solidFill>
          <a:latin typeface="+mn-lt"/>
          <a:ea typeface="+mn-ea"/>
          <a:cs typeface="+mn-cs"/>
        </a:defRPr>
      </a:lvl3pPr>
      <a:lvl4pPr marL="1466103" algn="l" defTabSz="977402" rtl="0" eaLnBrk="1" latinLnBrk="0" hangingPunct="1">
        <a:defRPr sz="1900" kern="1200">
          <a:solidFill>
            <a:schemeClr val="tx1"/>
          </a:solidFill>
          <a:latin typeface="+mn-lt"/>
          <a:ea typeface="+mn-ea"/>
          <a:cs typeface="+mn-cs"/>
        </a:defRPr>
      </a:lvl4pPr>
      <a:lvl5pPr marL="1954804" algn="l" defTabSz="977402" rtl="0" eaLnBrk="1" latinLnBrk="0" hangingPunct="1">
        <a:defRPr sz="1900" kern="1200">
          <a:solidFill>
            <a:schemeClr val="tx1"/>
          </a:solidFill>
          <a:latin typeface="+mn-lt"/>
          <a:ea typeface="+mn-ea"/>
          <a:cs typeface="+mn-cs"/>
        </a:defRPr>
      </a:lvl5pPr>
      <a:lvl6pPr marL="2443505" algn="l" defTabSz="977402" rtl="0" eaLnBrk="1" latinLnBrk="0" hangingPunct="1">
        <a:defRPr sz="1900" kern="1200">
          <a:solidFill>
            <a:schemeClr val="tx1"/>
          </a:solidFill>
          <a:latin typeface="+mn-lt"/>
          <a:ea typeface="+mn-ea"/>
          <a:cs typeface="+mn-cs"/>
        </a:defRPr>
      </a:lvl6pPr>
      <a:lvl7pPr marL="2932206" algn="l" defTabSz="977402" rtl="0" eaLnBrk="1" latinLnBrk="0" hangingPunct="1">
        <a:defRPr sz="1900" kern="1200">
          <a:solidFill>
            <a:schemeClr val="tx1"/>
          </a:solidFill>
          <a:latin typeface="+mn-lt"/>
          <a:ea typeface="+mn-ea"/>
          <a:cs typeface="+mn-cs"/>
        </a:defRPr>
      </a:lvl7pPr>
      <a:lvl8pPr marL="3420908" algn="l" defTabSz="977402" rtl="0" eaLnBrk="1" latinLnBrk="0" hangingPunct="1">
        <a:defRPr sz="1900" kern="1200">
          <a:solidFill>
            <a:schemeClr val="tx1"/>
          </a:solidFill>
          <a:latin typeface="+mn-lt"/>
          <a:ea typeface="+mn-ea"/>
          <a:cs typeface="+mn-cs"/>
        </a:defRPr>
      </a:lvl8pPr>
      <a:lvl9pPr marL="3909609" algn="l" defTabSz="977402"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g"/><Relationship Id="rId7"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microsoft.com/office/2007/relationships/hdphoto" Target="../media/hdphoto1.wdp"/><Relationship Id="rId5" Type="http://schemas.openxmlformats.org/officeDocument/2006/relationships/image" Target="../media/image18.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Longevity 12</a:t>
            </a:r>
            <a:br>
              <a:rPr lang="en-US" dirty="0" smtClean="0"/>
            </a:br>
            <a:r>
              <a:rPr lang="en-US" dirty="0" smtClean="0"/>
              <a:t/>
            </a:r>
            <a:br>
              <a:rPr lang="en-US" dirty="0" smtClean="0"/>
            </a:br>
            <a:r>
              <a:rPr lang="en-US" i="1" dirty="0"/>
              <a:t>Longevity Risk Transfer: Where Does the Market Turn When All the Cheap Capacity is Gone</a:t>
            </a:r>
            <a:endParaRPr lang="en-US" dirty="0"/>
          </a:p>
        </p:txBody>
      </p:sp>
      <p:sp>
        <p:nvSpPr>
          <p:cNvPr id="17" name="Subtitle 16"/>
          <p:cNvSpPr>
            <a:spLocks noGrp="1"/>
          </p:cNvSpPr>
          <p:nvPr>
            <p:ph type="subTitle" idx="1"/>
          </p:nvPr>
        </p:nvSpPr>
        <p:spPr/>
        <p:txBody>
          <a:bodyPr/>
          <a:lstStyle/>
          <a:p>
            <a:r>
              <a:rPr lang="en-US" dirty="0" smtClean="0"/>
              <a:t>Longevity 12</a:t>
            </a:r>
            <a:endParaRPr lang="en-US" dirty="0"/>
          </a:p>
        </p:txBody>
      </p:sp>
      <p:sp>
        <p:nvSpPr>
          <p:cNvPr id="6" name="Text Placeholder 5"/>
          <p:cNvSpPr>
            <a:spLocks noGrp="1"/>
          </p:cNvSpPr>
          <p:nvPr>
            <p:ph type="body" sz="quarter" idx="11"/>
          </p:nvPr>
        </p:nvSpPr>
        <p:spPr/>
        <p:txBody>
          <a:bodyPr/>
          <a:lstStyle/>
          <a:p>
            <a:r>
              <a:rPr lang="en-US" dirty="0" smtClean="0"/>
              <a:t>September 2016</a:t>
            </a:r>
            <a:endParaRPr lang="en-US" dirty="0"/>
          </a:p>
        </p:txBody>
      </p:sp>
      <p:sp>
        <p:nvSpPr>
          <p:cNvPr id="12" name="Text Placeholder 11"/>
          <p:cNvSpPr>
            <a:spLocks noGrp="1"/>
          </p:cNvSpPr>
          <p:nvPr>
            <p:ph type="body" sz="quarter" idx="12"/>
          </p:nvPr>
        </p:nvSpPr>
        <p:spPr/>
        <p:txBody>
          <a:bodyPr/>
          <a:lstStyle/>
          <a:p>
            <a:r>
              <a:rPr lang="en-US" dirty="0" smtClean="0"/>
              <a:t>Laura Hardy</a:t>
            </a:r>
            <a:endParaRPr lang="en-US" dirty="0"/>
          </a:p>
        </p:txBody>
      </p:sp>
      <p:pic>
        <p:nvPicPr>
          <p:cNvPr id="7" name="Picture Placeholder 6" descr="background_chart_globe_abstract.jpg"/>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1758" r="26476"/>
          <a:stretch/>
        </p:blipFill>
        <p:spPr/>
      </p:pic>
    </p:spTree>
    <p:extLst>
      <p:ext uri="{BB962C8B-B14F-4D97-AF65-F5344CB8AC3E}">
        <p14:creationId xmlns:p14="http://schemas.microsoft.com/office/powerpoint/2010/main" val="31868005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arriers to cheap capital markets capacity</a:t>
            </a:r>
          </a:p>
        </p:txBody>
      </p:sp>
      <p:sp>
        <p:nvSpPr>
          <p:cNvPr id="4" name="Text Placeholder 3"/>
          <p:cNvSpPr>
            <a:spLocks noGrp="1"/>
          </p:cNvSpPr>
          <p:nvPr>
            <p:ph type="body" sz="quarter" idx="16"/>
          </p:nvPr>
        </p:nvSpPr>
        <p:spPr/>
        <p:txBody>
          <a:bodyPr/>
          <a:lstStyle/>
          <a:p>
            <a:endParaRPr lang="en-GB"/>
          </a:p>
        </p:txBody>
      </p:sp>
      <p:sp>
        <p:nvSpPr>
          <p:cNvPr id="5" name="Text Placeholder 4"/>
          <p:cNvSpPr>
            <a:spLocks noGrp="1"/>
          </p:cNvSpPr>
          <p:nvPr>
            <p:ph type="body" sz="quarter" idx="15"/>
          </p:nvPr>
        </p:nvSpPr>
        <p:spPr/>
        <p:txBody>
          <a:bodyPr/>
          <a:lstStyle/>
          <a:p>
            <a:endParaRPr lang="en-GB"/>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474965256"/>
              </p:ext>
            </p:extLst>
          </p:nvPr>
        </p:nvGraphicFramePr>
        <p:xfrm>
          <a:off x="-691927" y="1765479"/>
          <a:ext cx="10067747" cy="4171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Content Placeholder 12"/>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7894750" y="1775383"/>
            <a:ext cx="3960366" cy="4161778"/>
          </a:xfrm>
          <a:prstGeom prst="rect">
            <a:avLst/>
          </a:prstGeom>
        </p:spPr>
      </p:pic>
    </p:spTree>
    <p:extLst>
      <p:ext uri="{BB962C8B-B14F-4D97-AF65-F5344CB8AC3E}">
        <p14:creationId xmlns:p14="http://schemas.microsoft.com/office/powerpoint/2010/main" val="3041425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graphicEl>
                                              <a:dgm id="{89B920D6-52A5-4D3B-A109-4E64D6ED675E}"/>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graphicEl>
                                              <a:dgm id="{04FAC49F-1DA9-4F97-9AF4-9DA9C179FF4C}"/>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graphicEl>
                                              <a:dgm id="{5134019A-555E-49A1-B7CE-9F4D0E34CD34}"/>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graphicEl>
                                              <a:dgm id="{D3C1C613-F339-45F9-B147-A370A83D1903}"/>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graphicEl>
                                              <a:dgm id="{8369CD7A-B4DE-48A1-A979-4004650DF0C8}"/>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graphicEl>
                                              <a:dgm id="{F1E2C238-7849-46EF-8ACD-DEBD094C2269}"/>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graphicEl>
                                              <a:dgm id="{CCCC67F4-D0D8-4279-A9AE-F4CA7BE02E6A}"/>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graphicEl>
                                              <a:dgm id="{AD587799-2C1A-417C-A5B0-3E27046CAD49}"/>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graphicEl>
                                              <a:dgm id="{86F6887A-5BAB-4A92-9B30-1B6206D5791F}"/>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
                                            <p:graphicEl>
                                              <a:dgm id="{5A5B4598-4389-4364-9675-10C59F7BD08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reeform 22"/>
          <p:cNvSpPr/>
          <p:nvPr/>
        </p:nvSpPr>
        <p:spPr>
          <a:xfrm>
            <a:off x="2057543" y="1146220"/>
            <a:ext cx="2886706" cy="4992113"/>
          </a:xfrm>
          <a:custGeom>
            <a:avLst/>
            <a:gdLst>
              <a:gd name="connsiteX0" fmla="*/ 0 w 2886706"/>
              <a:gd name="connsiteY0" fmla="*/ 0 h 4992113"/>
              <a:gd name="connsiteX1" fmla="*/ 2886706 w 2886706"/>
              <a:gd name="connsiteY1" fmla="*/ 0 h 4992113"/>
              <a:gd name="connsiteX2" fmla="*/ 2886706 w 2886706"/>
              <a:gd name="connsiteY2" fmla="*/ 4992113 h 4992113"/>
              <a:gd name="connsiteX3" fmla="*/ 0 w 2886706"/>
              <a:gd name="connsiteY3" fmla="*/ 4992113 h 4992113"/>
              <a:gd name="connsiteX4" fmla="*/ 0 w 2886706"/>
              <a:gd name="connsiteY4" fmla="*/ 0 h 499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6706" h="4992113">
                <a:moveTo>
                  <a:pt x="0" y="0"/>
                </a:moveTo>
                <a:lnTo>
                  <a:pt x="2886706" y="0"/>
                </a:lnTo>
                <a:lnTo>
                  <a:pt x="2886706" y="4992113"/>
                </a:lnTo>
                <a:lnTo>
                  <a:pt x="0" y="4992113"/>
                </a:lnTo>
                <a:lnTo>
                  <a:pt x="0" y="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67640" tIns="167640" rIns="167640" bIns="3662120" numCol="1" spcCol="1270" anchor="ctr" anchorCtr="0">
            <a:noAutofit/>
          </a:bodyPr>
          <a:lstStyle/>
          <a:p>
            <a:pPr lvl="0" algn="ctr" defTabSz="1955800">
              <a:lnSpc>
                <a:spcPct val="90000"/>
              </a:lnSpc>
              <a:spcBef>
                <a:spcPct val="0"/>
              </a:spcBef>
              <a:spcAft>
                <a:spcPct val="35000"/>
              </a:spcAft>
            </a:pPr>
            <a:r>
              <a:rPr lang="en-GB" sz="4400" kern="1200" dirty="0" smtClean="0"/>
              <a:t>Share it</a:t>
            </a:r>
            <a:endParaRPr lang="en-US" sz="4400" kern="1200" dirty="0"/>
          </a:p>
        </p:txBody>
      </p:sp>
      <p:sp>
        <p:nvSpPr>
          <p:cNvPr id="24" name="Freeform 23"/>
          <p:cNvSpPr/>
          <p:nvPr/>
        </p:nvSpPr>
        <p:spPr>
          <a:xfrm>
            <a:off x="5160752" y="1146220"/>
            <a:ext cx="2886706" cy="4992113"/>
          </a:xfrm>
          <a:custGeom>
            <a:avLst/>
            <a:gdLst>
              <a:gd name="connsiteX0" fmla="*/ 0 w 2886706"/>
              <a:gd name="connsiteY0" fmla="*/ 0 h 4992113"/>
              <a:gd name="connsiteX1" fmla="*/ 2886706 w 2886706"/>
              <a:gd name="connsiteY1" fmla="*/ 0 h 4992113"/>
              <a:gd name="connsiteX2" fmla="*/ 2886706 w 2886706"/>
              <a:gd name="connsiteY2" fmla="*/ 4992113 h 4992113"/>
              <a:gd name="connsiteX3" fmla="*/ 0 w 2886706"/>
              <a:gd name="connsiteY3" fmla="*/ 4992113 h 4992113"/>
              <a:gd name="connsiteX4" fmla="*/ 0 w 2886706"/>
              <a:gd name="connsiteY4" fmla="*/ 0 h 499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6706" h="4992113">
                <a:moveTo>
                  <a:pt x="0" y="0"/>
                </a:moveTo>
                <a:lnTo>
                  <a:pt x="2886706" y="0"/>
                </a:lnTo>
                <a:lnTo>
                  <a:pt x="2886706" y="4992113"/>
                </a:lnTo>
                <a:lnTo>
                  <a:pt x="0" y="4992113"/>
                </a:lnTo>
                <a:lnTo>
                  <a:pt x="0" y="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67640" tIns="167640" rIns="167640" bIns="3662120" numCol="1" spcCol="1270" anchor="ctr" anchorCtr="0">
            <a:noAutofit/>
          </a:bodyPr>
          <a:lstStyle/>
          <a:p>
            <a:pPr lvl="0" algn="ctr" defTabSz="1955800">
              <a:lnSpc>
                <a:spcPct val="90000"/>
              </a:lnSpc>
              <a:spcBef>
                <a:spcPct val="0"/>
              </a:spcBef>
              <a:spcAft>
                <a:spcPct val="35000"/>
              </a:spcAft>
            </a:pPr>
            <a:r>
              <a:rPr lang="en-GB" sz="4400" kern="1200" smtClean="0"/>
              <a:t>Hedge it</a:t>
            </a:r>
            <a:endParaRPr lang="en-US" sz="4400" kern="1200" dirty="0"/>
          </a:p>
        </p:txBody>
      </p:sp>
      <p:sp>
        <p:nvSpPr>
          <p:cNvPr id="25" name="Freeform 24"/>
          <p:cNvSpPr/>
          <p:nvPr/>
        </p:nvSpPr>
        <p:spPr>
          <a:xfrm>
            <a:off x="8263962" y="1146220"/>
            <a:ext cx="2886706" cy="4992113"/>
          </a:xfrm>
          <a:custGeom>
            <a:avLst/>
            <a:gdLst>
              <a:gd name="connsiteX0" fmla="*/ 0 w 2886706"/>
              <a:gd name="connsiteY0" fmla="*/ 0 h 4992113"/>
              <a:gd name="connsiteX1" fmla="*/ 2886706 w 2886706"/>
              <a:gd name="connsiteY1" fmla="*/ 0 h 4992113"/>
              <a:gd name="connsiteX2" fmla="*/ 2886706 w 2886706"/>
              <a:gd name="connsiteY2" fmla="*/ 4992113 h 4992113"/>
              <a:gd name="connsiteX3" fmla="*/ 0 w 2886706"/>
              <a:gd name="connsiteY3" fmla="*/ 4992113 h 4992113"/>
              <a:gd name="connsiteX4" fmla="*/ 0 w 2886706"/>
              <a:gd name="connsiteY4" fmla="*/ 0 h 499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6706" h="4992113">
                <a:moveTo>
                  <a:pt x="0" y="0"/>
                </a:moveTo>
                <a:lnTo>
                  <a:pt x="2886706" y="0"/>
                </a:lnTo>
                <a:lnTo>
                  <a:pt x="2886706" y="4992113"/>
                </a:lnTo>
                <a:lnTo>
                  <a:pt x="0" y="4992113"/>
                </a:lnTo>
                <a:lnTo>
                  <a:pt x="0" y="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67640" tIns="167640" rIns="167640" bIns="3662120" numCol="1" spcCol="1270" anchor="ctr" anchorCtr="0">
            <a:noAutofit/>
          </a:bodyPr>
          <a:lstStyle/>
          <a:p>
            <a:pPr lvl="0" algn="ctr" defTabSz="1955800">
              <a:lnSpc>
                <a:spcPct val="90000"/>
              </a:lnSpc>
              <a:spcBef>
                <a:spcPct val="0"/>
              </a:spcBef>
              <a:spcAft>
                <a:spcPct val="35000"/>
              </a:spcAft>
            </a:pPr>
            <a:r>
              <a:rPr lang="en-GB" sz="4400" kern="1200" dirty="0" smtClean="0"/>
              <a:t>Limit it</a:t>
            </a:r>
            <a:endParaRPr lang="en-US" sz="4400" kern="1200" dirty="0"/>
          </a:p>
        </p:txBody>
      </p:sp>
      <p:sp>
        <p:nvSpPr>
          <p:cNvPr id="2" name="Title 1"/>
          <p:cNvSpPr>
            <a:spLocks noGrp="1"/>
          </p:cNvSpPr>
          <p:nvPr>
            <p:ph type="title"/>
          </p:nvPr>
        </p:nvSpPr>
        <p:spPr/>
        <p:txBody>
          <a:bodyPr/>
          <a:lstStyle/>
          <a:p>
            <a:r>
              <a:rPr lang="en-GB" dirty="0" smtClean="0"/>
              <a:t>Overcoming barriers</a:t>
            </a:r>
            <a:endParaRPr lang="en-GB" dirty="0"/>
          </a:p>
        </p:txBody>
      </p:sp>
      <p:sp>
        <p:nvSpPr>
          <p:cNvPr id="4" name="Text Placeholder 3"/>
          <p:cNvSpPr>
            <a:spLocks noGrp="1"/>
          </p:cNvSpPr>
          <p:nvPr>
            <p:ph type="body" sz="quarter" idx="16"/>
          </p:nvPr>
        </p:nvSpPr>
        <p:spPr/>
        <p:txBody>
          <a:bodyPr/>
          <a:lstStyle/>
          <a:p>
            <a:endParaRPr lang="en-GB" dirty="0"/>
          </a:p>
        </p:txBody>
      </p:sp>
      <p:sp>
        <p:nvSpPr>
          <p:cNvPr id="6" name="Freeform 5"/>
          <p:cNvSpPr/>
          <p:nvPr/>
        </p:nvSpPr>
        <p:spPr>
          <a:xfrm>
            <a:off x="2057543" y="1146219"/>
            <a:ext cx="2886706" cy="4992113"/>
          </a:xfrm>
          <a:custGeom>
            <a:avLst/>
            <a:gdLst>
              <a:gd name="connsiteX0" fmla="*/ 0 w 2886706"/>
              <a:gd name="connsiteY0" fmla="*/ 0 h 4992113"/>
              <a:gd name="connsiteX1" fmla="*/ 2886706 w 2886706"/>
              <a:gd name="connsiteY1" fmla="*/ 0 h 4992113"/>
              <a:gd name="connsiteX2" fmla="*/ 2886706 w 2886706"/>
              <a:gd name="connsiteY2" fmla="*/ 4992113 h 4992113"/>
              <a:gd name="connsiteX3" fmla="*/ 0 w 2886706"/>
              <a:gd name="connsiteY3" fmla="*/ 4992113 h 4992113"/>
              <a:gd name="connsiteX4" fmla="*/ 0 w 2886706"/>
              <a:gd name="connsiteY4" fmla="*/ 0 h 499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6706" h="4992113">
                <a:moveTo>
                  <a:pt x="0" y="0"/>
                </a:moveTo>
                <a:lnTo>
                  <a:pt x="2886706" y="0"/>
                </a:lnTo>
                <a:lnTo>
                  <a:pt x="2886706" y="4992113"/>
                </a:lnTo>
                <a:lnTo>
                  <a:pt x="0" y="4992113"/>
                </a:lnTo>
                <a:lnTo>
                  <a:pt x="0" y="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67640" tIns="167640" rIns="167640" bIns="3662120" numCol="1" spcCol="1270" anchor="ctr" anchorCtr="0">
            <a:noAutofit/>
          </a:bodyPr>
          <a:lstStyle/>
          <a:p>
            <a:pPr lvl="0" algn="ctr" defTabSz="1955800">
              <a:lnSpc>
                <a:spcPct val="90000"/>
              </a:lnSpc>
              <a:spcBef>
                <a:spcPct val="0"/>
              </a:spcBef>
              <a:spcAft>
                <a:spcPct val="35000"/>
              </a:spcAft>
            </a:pPr>
            <a:r>
              <a:rPr lang="en-GB" sz="4400" kern="1200" dirty="0" smtClean="0"/>
              <a:t>Share it</a:t>
            </a:r>
            <a:endParaRPr lang="en-US" sz="4400" kern="1200" dirty="0"/>
          </a:p>
        </p:txBody>
      </p:sp>
      <p:sp>
        <p:nvSpPr>
          <p:cNvPr id="7" name="Freeform 6"/>
          <p:cNvSpPr/>
          <p:nvPr/>
        </p:nvSpPr>
        <p:spPr>
          <a:xfrm>
            <a:off x="2321780" y="2643975"/>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r>
              <a:rPr lang="en-GB" sz="1500" b="1" kern="1200" dirty="0" smtClean="0"/>
              <a:t>Fixed term annuities</a:t>
            </a:r>
            <a:endParaRPr lang="en-US" sz="1500" b="1" kern="1200" dirty="0"/>
          </a:p>
        </p:txBody>
      </p:sp>
      <p:sp>
        <p:nvSpPr>
          <p:cNvPr id="8" name="Freeform 7"/>
          <p:cNvSpPr/>
          <p:nvPr/>
        </p:nvSpPr>
        <p:spPr>
          <a:xfrm>
            <a:off x="2321780" y="3483104"/>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r>
              <a:rPr lang="en-GB" sz="1500" b="1" kern="1200" dirty="0" smtClean="0"/>
              <a:t>Tontines</a:t>
            </a:r>
            <a:endParaRPr lang="en-US" sz="1500" b="1" kern="1200" dirty="0"/>
          </a:p>
        </p:txBody>
      </p:sp>
      <p:sp>
        <p:nvSpPr>
          <p:cNvPr id="9" name="Freeform 8"/>
          <p:cNvSpPr/>
          <p:nvPr/>
        </p:nvSpPr>
        <p:spPr>
          <a:xfrm>
            <a:off x="2321780" y="4322232"/>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r>
              <a:rPr lang="en-GB" sz="1500" b="1" kern="1200" dirty="0" smtClean="0"/>
              <a:t>High retentions</a:t>
            </a:r>
            <a:endParaRPr lang="en-US" sz="1500" b="1" kern="1200" dirty="0"/>
          </a:p>
        </p:txBody>
      </p:sp>
      <p:sp>
        <p:nvSpPr>
          <p:cNvPr id="10" name="Freeform 9"/>
          <p:cNvSpPr/>
          <p:nvPr/>
        </p:nvSpPr>
        <p:spPr>
          <a:xfrm>
            <a:off x="2321780" y="5161360"/>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endParaRPr lang="en-US" sz="1500" kern="1200" dirty="0"/>
          </a:p>
        </p:txBody>
      </p:sp>
      <p:sp>
        <p:nvSpPr>
          <p:cNvPr id="11" name="Freeform 10"/>
          <p:cNvSpPr/>
          <p:nvPr/>
        </p:nvSpPr>
        <p:spPr>
          <a:xfrm>
            <a:off x="5158791" y="1146218"/>
            <a:ext cx="2886706" cy="4992113"/>
          </a:xfrm>
          <a:custGeom>
            <a:avLst/>
            <a:gdLst>
              <a:gd name="connsiteX0" fmla="*/ 0 w 2886706"/>
              <a:gd name="connsiteY0" fmla="*/ 0 h 4992113"/>
              <a:gd name="connsiteX1" fmla="*/ 2886706 w 2886706"/>
              <a:gd name="connsiteY1" fmla="*/ 0 h 4992113"/>
              <a:gd name="connsiteX2" fmla="*/ 2886706 w 2886706"/>
              <a:gd name="connsiteY2" fmla="*/ 4992113 h 4992113"/>
              <a:gd name="connsiteX3" fmla="*/ 0 w 2886706"/>
              <a:gd name="connsiteY3" fmla="*/ 4992113 h 4992113"/>
              <a:gd name="connsiteX4" fmla="*/ 0 w 2886706"/>
              <a:gd name="connsiteY4" fmla="*/ 0 h 499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6706" h="4992113">
                <a:moveTo>
                  <a:pt x="0" y="0"/>
                </a:moveTo>
                <a:lnTo>
                  <a:pt x="2886706" y="0"/>
                </a:lnTo>
                <a:lnTo>
                  <a:pt x="2886706" y="4992113"/>
                </a:lnTo>
                <a:lnTo>
                  <a:pt x="0" y="4992113"/>
                </a:lnTo>
                <a:lnTo>
                  <a:pt x="0" y="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67640" tIns="167640" rIns="167640" bIns="3662120" numCol="1" spcCol="1270" anchor="ctr" anchorCtr="0">
            <a:noAutofit/>
          </a:bodyPr>
          <a:lstStyle/>
          <a:p>
            <a:pPr lvl="0" algn="ctr" defTabSz="1955800">
              <a:lnSpc>
                <a:spcPct val="90000"/>
              </a:lnSpc>
              <a:spcBef>
                <a:spcPct val="0"/>
              </a:spcBef>
              <a:spcAft>
                <a:spcPct val="35000"/>
              </a:spcAft>
            </a:pPr>
            <a:r>
              <a:rPr lang="en-GB" sz="4400" kern="1200" smtClean="0"/>
              <a:t>Hedge it</a:t>
            </a:r>
            <a:endParaRPr lang="en-US" sz="4400" kern="1200" dirty="0"/>
          </a:p>
        </p:txBody>
      </p:sp>
      <p:sp>
        <p:nvSpPr>
          <p:cNvPr id="12" name="Freeform 11"/>
          <p:cNvSpPr/>
          <p:nvPr/>
        </p:nvSpPr>
        <p:spPr>
          <a:xfrm>
            <a:off x="5424990" y="2643975"/>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endParaRPr lang="en-US" sz="1500" kern="1200" dirty="0"/>
          </a:p>
        </p:txBody>
      </p:sp>
      <p:sp>
        <p:nvSpPr>
          <p:cNvPr id="13" name="Freeform 12"/>
          <p:cNvSpPr/>
          <p:nvPr/>
        </p:nvSpPr>
        <p:spPr>
          <a:xfrm>
            <a:off x="5424990" y="3483104"/>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endParaRPr lang="en-US" sz="1500" kern="1200" dirty="0"/>
          </a:p>
        </p:txBody>
      </p:sp>
      <p:sp>
        <p:nvSpPr>
          <p:cNvPr id="14" name="Freeform 13"/>
          <p:cNvSpPr/>
          <p:nvPr/>
        </p:nvSpPr>
        <p:spPr>
          <a:xfrm>
            <a:off x="5424990" y="4322232"/>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r>
              <a:rPr lang="en-GB" sz="1500" b="1" kern="1200" dirty="0" smtClean="0"/>
              <a:t>Combine with other risks/blocks</a:t>
            </a:r>
            <a:endParaRPr lang="en-US" sz="1500" b="1" kern="1200" dirty="0"/>
          </a:p>
        </p:txBody>
      </p:sp>
      <p:sp>
        <p:nvSpPr>
          <p:cNvPr id="16" name="Freeform 15"/>
          <p:cNvSpPr/>
          <p:nvPr/>
        </p:nvSpPr>
        <p:spPr>
          <a:xfrm>
            <a:off x="5424990" y="5161360"/>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r>
              <a:rPr lang="en-GB" sz="1500" b="1" kern="1200" dirty="0" smtClean="0"/>
              <a:t>Published index</a:t>
            </a:r>
            <a:endParaRPr lang="en-US" sz="1500" b="1" kern="1200" dirty="0"/>
          </a:p>
        </p:txBody>
      </p:sp>
      <p:sp>
        <p:nvSpPr>
          <p:cNvPr id="17" name="Freeform 16"/>
          <p:cNvSpPr/>
          <p:nvPr/>
        </p:nvSpPr>
        <p:spPr>
          <a:xfrm>
            <a:off x="8271623" y="1146218"/>
            <a:ext cx="2886706" cy="4992113"/>
          </a:xfrm>
          <a:custGeom>
            <a:avLst/>
            <a:gdLst>
              <a:gd name="connsiteX0" fmla="*/ 0 w 2886706"/>
              <a:gd name="connsiteY0" fmla="*/ 0 h 4992113"/>
              <a:gd name="connsiteX1" fmla="*/ 2886706 w 2886706"/>
              <a:gd name="connsiteY1" fmla="*/ 0 h 4992113"/>
              <a:gd name="connsiteX2" fmla="*/ 2886706 w 2886706"/>
              <a:gd name="connsiteY2" fmla="*/ 4992113 h 4992113"/>
              <a:gd name="connsiteX3" fmla="*/ 0 w 2886706"/>
              <a:gd name="connsiteY3" fmla="*/ 4992113 h 4992113"/>
              <a:gd name="connsiteX4" fmla="*/ 0 w 2886706"/>
              <a:gd name="connsiteY4" fmla="*/ 0 h 499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6706" h="4992113">
                <a:moveTo>
                  <a:pt x="0" y="0"/>
                </a:moveTo>
                <a:lnTo>
                  <a:pt x="2886706" y="0"/>
                </a:lnTo>
                <a:lnTo>
                  <a:pt x="2886706" y="4992113"/>
                </a:lnTo>
                <a:lnTo>
                  <a:pt x="0" y="4992113"/>
                </a:lnTo>
                <a:lnTo>
                  <a:pt x="0" y="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67640" tIns="167640" rIns="167640" bIns="3662120" numCol="1" spcCol="1270" anchor="ctr" anchorCtr="0">
            <a:noAutofit/>
          </a:bodyPr>
          <a:lstStyle/>
          <a:p>
            <a:pPr lvl="0" algn="ctr" defTabSz="1955800">
              <a:lnSpc>
                <a:spcPct val="90000"/>
              </a:lnSpc>
              <a:spcBef>
                <a:spcPct val="0"/>
              </a:spcBef>
              <a:spcAft>
                <a:spcPct val="35000"/>
              </a:spcAft>
            </a:pPr>
            <a:r>
              <a:rPr lang="en-GB" sz="4400" kern="1200" dirty="0" smtClean="0"/>
              <a:t>Limit it</a:t>
            </a:r>
            <a:endParaRPr lang="en-US" sz="4400" kern="1200" dirty="0"/>
          </a:p>
        </p:txBody>
      </p:sp>
      <p:sp>
        <p:nvSpPr>
          <p:cNvPr id="18" name="Freeform 17"/>
          <p:cNvSpPr/>
          <p:nvPr/>
        </p:nvSpPr>
        <p:spPr>
          <a:xfrm>
            <a:off x="8528199" y="2643975"/>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r>
              <a:rPr lang="en-GB" sz="1500" b="1" kern="1200" dirty="0" smtClean="0"/>
              <a:t>Fixed term swap</a:t>
            </a:r>
            <a:endParaRPr lang="en-US" sz="1500" b="1" kern="1200" dirty="0"/>
          </a:p>
        </p:txBody>
      </p:sp>
      <p:sp>
        <p:nvSpPr>
          <p:cNvPr id="19" name="Freeform 18"/>
          <p:cNvSpPr/>
          <p:nvPr/>
        </p:nvSpPr>
        <p:spPr>
          <a:xfrm>
            <a:off x="8528199" y="3483104"/>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r>
              <a:rPr lang="en-GB" sz="1500" b="1" kern="1200" dirty="0" smtClean="0"/>
              <a:t>Out of the money swap</a:t>
            </a:r>
            <a:endParaRPr lang="en-US" sz="1500" b="1" kern="1200" dirty="0"/>
          </a:p>
        </p:txBody>
      </p:sp>
      <p:sp>
        <p:nvSpPr>
          <p:cNvPr id="20" name="Freeform 19"/>
          <p:cNvSpPr/>
          <p:nvPr/>
        </p:nvSpPr>
        <p:spPr>
          <a:xfrm>
            <a:off x="8528199" y="4322232"/>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endParaRPr lang="en-US" sz="1500" b="1" kern="1200" dirty="0"/>
          </a:p>
        </p:txBody>
      </p:sp>
      <p:sp>
        <p:nvSpPr>
          <p:cNvPr id="21" name="Freeform 20"/>
          <p:cNvSpPr/>
          <p:nvPr/>
        </p:nvSpPr>
        <p:spPr>
          <a:xfrm>
            <a:off x="8528199" y="5161360"/>
            <a:ext cx="2309365" cy="727244"/>
          </a:xfrm>
          <a:custGeom>
            <a:avLst/>
            <a:gdLst>
              <a:gd name="connsiteX0" fmla="*/ 0 w 2309365"/>
              <a:gd name="connsiteY0" fmla="*/ 72724 h 727244"/>
              <a:gd name="connsiteX1" fmla="*/ 72724 w 2309365"/>
              <a:gd name="connsiteY1" fmla="*/ 0 h 727244"/>
              <a:gd name="connsiteX2" fmla="*/ 2236641 w 2309365"/>
              <a:gd name="connsiteY2" fmla="*/ 0 h 727244"/>
              <a:gd name="connsiteX3" fmla="*/ 2309365 w 2309365"/>
              <a:gd name="connsiteY3" fmla="*/ 72724 h 727244"/>
              <a:gd name="connsiteX4" fmla="*/ 2309365 w 2309365"/>
              <a:gd name="connsiteY4" fmla="*/ 654520 h 727244"/>
              <a:gd name="connsiteX5" fmla="*/ 2236641 w 2309365"/>
              <a:gd name="connsiteY5" fmla="*/ 727244 h 727244"/>
              <a:gd name="connsiteX6" fmla="*/ 72724 w 2309365"/>
              <a:gd name="connsiteY6" fmla="*/ 727244 h 727244"/>
              <a:gd name="connsiteX7" fmla="*/ 0 w 2309365"/>
              <a:gd name="connsiteY7" fmla="*/ 654520 h 727244"/>
              <a:gd name="connsiteX8" fmla="*/ 0 w 2309365"/>
              <a:gd name="connsiteY8" fmla="*/ 72724 h 7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365" h="727244">
                <a:moveTo>
                  <a:pt x="0" y="72724"/>
                </a:moveTo>
                <a:cubicBezTo>
                  <a:pt x="0" y="32560"/>
                  <a:pt x="32560" y="0"/>
                  <a:pt x="72724" y="0"/>
                </a:cubicBezTo>
                <a:lnTo>
                  <a:pt x="2236641" y="0"/>
                </a:lnTo>
                <a:cubicBezTo>
                  <a:pt x="2276805" y="0"/>
                  <a:pt x="2309365" y="32560"/>
                  <a:pt x="2309365" y="72724"/>
                </a:cubicBezTo>
                <a:lnTo>
                  <a:pt x="2309365" y="654520"/>
                </a:lnTo>
                <a:cubicBezTo>
                  <a:pt x="2309365" y="694684"/>
                  <a:pt x="2276805" y="727244"/>
                  <a:pt x="2236641" y="727244"/>
                </a:cubicBezTo>
                <a:lnTo>
                  <a:pt x="72724" y="727244"/>
                </a:lnTo>
                <a:cubicBezTo>
                  <a:pt x="32560" y="727244"/>
                  <a:pt x="0" y="694684"/>
                  <a:pt x="0" y="654520"/>
                </a:cubicBezTo>
                <a:lnTo>
                  <a:pt x="0" y="72724"/>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400" tIns="49875" rIns="59400" bIns="49875" numCol="1" spcCol="1270" anchor="ctr" anchorCtr="0">
            <a:noAutofit/>
          </a:bodyPr>
          <a:lstStyle/>
          <a:p>
            <a:pPr lvl="0" algn="ctr" defTabSz="666750">
              <a:lnSpc>
                <a:spcPct val="90000"/>
              </a:lnSpc>
              <a:spcBef>
                <a:spcPct val="0"/>
              </a:spcBef>
              <a:spcAft>
                <a:spcPct val="35000"/>
              </a:spcAft>
            </a:pPr>
            <a:r>
              <a:rPr lang="en-GB" sz="1500" b="1" kern="1200" dirty="0" smtClean="0"/>
              <a:t>Top slicing</a:t>
            </a:r>
            <a:endParaRPr lang="en-US" sz="1500" b="1" kern="1200" dirty="0"/>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8325" y="2735390"/>
            <a:ext cx="530352" cy="542544"/>
          </a:xfrm>
          <a:prstGeom prst="rect">
            <a:avLst/>
          </a:prstGeom>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96219" y="3546665"/>
            <a:ext cx="494564" cy="542544"/>
          </a:xfrm>
          <a:prstGeom prst="rect">
            <a:avLst/>
          </a:prstGeom>
        </p:spPr>
      </p:pic>
      <p:pic>
        <p:nvPicPr>
          <p:cNvPr id="27" name="Picture 26"/>
          <p:cNvPicPr>
            <a:picLocks noChangeAspect="1"/>
          </p:cNvPicPr>
          <p:nvPr/>
        </p:nvPicPr>
        <p:blipFill>
          <a:blip r:embed="rId5">
            <a:extLst>
              <a:ext uri="{BEBA8EAE-BF5A-486C-A8C5-ECC9F3942E4B}">
                <a14:imgProps xmlns:a14="http://schemas.microsoft.com/office/drawing/2010/main">
                  <a14:imgLayer r:embed="rId6">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1472666" y="4415279"/>
            <a:ext cx="518117" cy="524213"/>
          </a:xfrm>
          <a:prstGeom prst="rect">
            <a:avLst/>
          </a:prstGeom>
        </p:spPr>
      </p:pic>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72666" y="5265562"/>
            <a:ext cx="535781" cy="535781"/>
          </a:xfrm>
          <a:prstGeom prst="rect">
            <a:avLst/>
          </a:prstGeom>
        </p:spPr>
      </p:pic>
    </p:spTree>
    <p:extLst>
      <p:ext uri="{BB962C8B-B14F-4D97-AF65-F5344CB8AC3E}">
        <p14:creationId xmlns:p14="http://schemas.microsoft.com/office/powerpoint/2010/main" val="4254945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26" presetClass="emph" presetSubtype="0" fill="hold" grpId="1" nodeType="clickEffect">
                                  <p:stCondLst>
                                    <p:cond delay="0"/>
                                  </p:stCondLst>
                                  <p:childTnLst>
                                    <p:animEffect transition="out" filter="fade">
                                      <p:cBhvr>
                                        <p:cTn id="62" dur="500" tmFilter="0, 0; .2, .5; .8, .5; 1, 0"/>
                                        <p:tgtEl>
                                          <p:spTgt spid="9"/>
                                        </p:tgtEl>
                                      </p:cBhvr>
                                    </p:animEffect>
                                    <p:animScale>
                                      <p:cBhvr>
                                        <p:cTn id="63" dur="250" autoRev="1" fill="hold"/>
                                        <p:tgtEl>
                                          <p:spTgt spid="9"/>
                                        </p:tgtEl>
                                      </p:cBhvr>
                                      <p:by x="105000" y="105000"/>
                                    </p:animScale>
                                  </p:childTnLst>
                                </p:cTn>
                              </p:par>
                            </p:childTnLst>
                          </p:cTn>
                        </p:par>
                      </p:childTnLst>
                    </p:cTn>
                  </p:par>
                  <p:par>
                    <p:cTn id="64" fill="hold">
                      <p:stCondLst>
                        <p:cond delay="indefinite"/>
                      </p:stCondLst>
                      <p:childTnLst>
                        <p:par>
                          <p:cTn id="65" fill="hold">
                            <p:stCondLst>
                              <p:cond delay="0"/>
                            </p:stCondLst>
                            <p:childTnLst>
                              <p:par>
                                <p:cTn id="66" presetID="26" presetClass="emph" presetSubtype="0" fill="hold" grpId="1" nodeType="clickEffect">
                                  <p:stCondLst>
                                    <p:cond delay="0"/>
                                  </p:stCondLst>
                                  <p:childTnLst>
                                    <p:animEffect transition="out" filter="fade">
                                      <p:cBhvr>
                                        <p:cTn id="67" dur="500" tmFilter="0, 0; .2, .5; .8, .5; 1, 0"/>
                                        <p:tgtEl>
                                          <p:spTgt spid="14"/>
                                        </p:tgtEl>
                                      </p:cBhvr>
                                    </p:animEffect>
                                    <p:animScale>
                                      <p:cBhvr>
                                        <p:cTn id="68" dur="250" autoRev="1" fill="hold"/>
                                        <p:tgtEl>
                                          <p:spTgt spid="14"/>
                                        </p:tgtEl>
                                      </p:cBhvr>
                                      <p:by x="105000" y="105000"/>
                                    </p:animScale>
                                  </p:childTnLst>
                                </p:cTn>
                              </p:par>
                            </p:childTnLst>
                          </p:cTn>
                        </p:par>
                      </p:childTnLst>
                    </p:cTn>
                  </p:par>
                  <p:par>
                    <p:cTn id="69" fill="hold">
                      <p:stCondLst>
                        <p:cond delay="indefinite"/>
                      </p:stCondLst>
                      <p:childTnLst>
                        <p:par>
                          <p:cTn id="70" fill="hold">
                            <p:stCondLst>
                              <p:cond delay="0"/>
                            </p:stCondLst>
                            <p:childTnLst>
                              <p:par>
                                <p:cTn id="71" presetID="26" presetClass="emph" presetSubtype="0" fill="hold" grpId="1" nodeType="clickEffect">
                                  <p:stCondLst>
                                    <p:cond delay="0"/>
                                  </p:stCondLst>
                                  <p:childTnLst>
                                    <p:animEffect transition="out" filter="fade">
                                      <p:cBhvr>
                                        <p:cTn id="72" dur="500" tmFilter="0, 0; .2, .5; .8, .5; 1, 0"/>
                                        <p:tgtEl>
                                          <p:spTgt spid="21"/>
                                        </p:tgtEl>
                                      </p:cBhvr>
                                    </p:animEffect>
                                    <p:animScale>
                                      <p:cBhvr>
                                        <p:cTn id="73" dur="250" autoRev="1" fill="hold"/>
                                        <p:tgtEl>
                                          <p:spTgt spid="2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6" grpId="0" animBg="1"/>
      <p:bldP spid="7" grpId="0" animBg="1"/>
      <p:bldP spid="8" grpId="0" animBg="1"/>
      <p:bldP spid="9" grpId="0" animBg="1"/>
      <p:bldP spid="9" grpId="1" animBg="1"/>
      <p:bldP spid="10" grpId="0" animBg="1"/>
      <p:bldP spid="11" grpId="0" animBg="1"/>
      <p:bldP spid="12" grpId="0" animBg="1"/>
      <p:bldP spid="13" grpId="0" animBg="1"/>
      <p:bldP spid="14" grpId="0" animBg="1"/>
      <p:bldP spid="14" grpId="1" animBg="1"/>
      <p:bldP spid="16" grpId="0" animBg="1"/>
      <p:bldP spid="17" grpId="0" animBg="1"/>
      <p:bldP spid="18" grpId="0" animBg="1"/>
      <p:bldP spid="19" grpId="0" animBg="1"/>
      <p:bldP spid="20" grpId="0" animBg="1"/>
      <p:bldP spid="21" grpId="0" animBg="1"/>
      <p:bldP spid="21"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ridging the gap</a:t>
            </a:r>
            <a:endParaRPr lang="en-GB" dirty="0"/>
          </a:p>
        </p:txBody>
      </p:sp>
      <p:sp>
        <p:nvSpPr>
          <p:cNvPr id="4" name="Text Placeholder 3"/>
          <p:cNvSpPr>
            <a:spLocks noGrp="1"/>
          </p:cNvSpPr>
          <p:nvPr>
            <p:ph type="body" sz="quarter" idx="16"/>
          </p:nvPr>
        </p:nvSpPr>
        <p:spPr/>
        <p:txBody>
          <a:bodyPr/>
          <a:lstStyle/>
          <a:p>
            <a:endParaRPr lang="en-GB" dirty="0"/>
          </a:p>
        </p:txBody>
      </p:sp>
      <p:sp>
        <p:nvSpPr>
          <p:cNvPr id="3" name="Rectangle 2"/>
          <p:cNvSpPr/>
          <p:nvPr/>
        </p:nvSpPr>
        <p:spPr>
          <a:xfrm>
            <a:off x="1297172" y="1307805"/>
            <a:ext cx="2934586" cy="935665"/>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r>
              <a:rPr lang="en-GB" sz="3200" dirty="0" smtClean="0">
                <a:solidFill>
                  <a:schemeClr val="bg1"/>
                </a:solidFill>
              </a:rPr>
              <a:t>Share it</a:t>
            </a:r>
            <a:endParaRPr lang="en-US" sz="3200" dirty="0">
              <a:solidFill>
                <a:schemeClr val="bg1"/>
              </a:solidFill>
            </a:endParaRPr>
          </a:p>
        </p:txBody>
      </p:sp>
      <p:sp>
        <p:nvSpPr>
          <p:cNvPr id="11" name="Rectangle 10"/>
          <p:cNvSpPr/>
          <p:nvPr/>
        </p:nvSpPr>
        <p:spPr>
          <a:xfrm>
            <a:off x="4458586" y="1307804"/>
            <a:ext cx="2934586" cy="935665"/>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r>
              <a:rPr lang="en-GB" sz="3200" dirty="0" smtClean="0">
                <a:solidFill>
                  <a:schemeClr val="bg1"/>
                </a:solidFill>
              </a:rPr>
              <a:t>Hedge it</a:t>
            </a:r>
            <a:endParaRPr lang="en-US" sz="3200" dirty="0">
              <a:solidFill>
                <a:schemeClr val="bg1"/>
              </a:solidFill>
            </a:endParaRPr>
          </a:p>
        </p:txBody>
      </p:sp>
      <p:sp>
        <p:nvSpPr>
          <p:cNvPr id="12" name="Rectangle 11"/>
          <p:cNvSpPr/>
          <p:nvPr/>
        </p:nvSpPr>
        <p:spPr>
          <a:xfrm>
            <a:off x="7620000" y="1307803"/>
            <a:ext cx="2934586" cy="935665"/>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r>
              <a:rPr lang="en-GB" sz="3200" dirty="0" smtClean="0">
                <a:solidFill>
                  <a:schemeClr val="bg1"/>
                </a:solidFill>
              </a:rPr>
              <a:t>Limit it</a:t>
            </a:r>
            <a:endParaRPr lang="en-US" sz="3200" dirty="0">
              <a:solidFill>
                <a:schemeClr val="bg1"/>
              </a:solidFill>
            </a:endParaRPr>
          </a:p>
        </p:txBody>
      </p:sp>
      <p:sp>
        <p:nvSpPr>
          <p:cNvPr id="13" name="Rectangle 12"/>
          <p:cNvSpPr/>
          <p:nvPr/>
        </p:nvSpPr>
        <p:spPr>
          <a:xfrm>
            <a:off x="1297172" y="2757377"/>
            <a:ext cx="2934586" cy="935665"/>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GB" sz="3200" dirty="0" smtClean="0">
                <a:solidFill>
                  <a:schemeClr val="bg1"/>
                </a:solidFill>
              </a:rPr>
              <a:t>Insurers</a:t>
            </a:r>
            <a:endParaRPr lang="en-US" sz="3200" dirty="0">
              <a:solidFill>
                <a:schemeClr val="bg1"/>
              </a:solidFill>
            </a:endParaRPr>
          </a:p>
        </p:txBody>
      </p:sp>
      <p:sp>
        <p:nvSpPr>
          <p:cNvPr id="14" name="Rectangle 13"/>
          <p:cNvSpPr/>
          <p:nvPr/>
        </p:nvSpPr>
        <p:spPr>
          <a:xfrm>
            <a:off x="4458586" y="3929236"/>
            <a:ext cx="2934586" cy="935665"/>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GB" sz="3200" dirty="0" smtClean="0">
                <a:solidFill>
                  <a:schemeClr val="bg1"/>
                </a:solidFill>
              </a:rPr>
              <a:t>Capital markets</a:t>
            </a:r>
            <a:endParaRPr lang="en-US" sz="3200" dirty="0">
              <a:solidFill>
                <a:schemeClr val="bg1"/>
              </a:solidFill>
            </a:endParaRPr>
          </a:p>
        </p:txBody>
      </p:sp>
      <p:sp>
        <p:nvSpPr>
          <p:cNvPr id="16" name="Rectangle 15"/>
          <p:cNvSpPr/>
          <p:nvPr/>
        </p:nvSpPr>
        <p:spPr>
          <a:xfrm>
            <a:off x="7620000" y="5015601"/>
            <a:ext cx="2934586" cy="935665"/>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GB" sz="3200" dirty="0" smtClean="0">
                <a:solidFill>
                  <a:schemeClr val="bg1"/>
                </a:solidFill>
              </a:rPr>
              <a:t>Reinsurers</a:t>
            </a:r>
            <a:endParaRPr lang="en-US" sz="3200" dirty="0">
              <a:solidFill>
                <a:schemeClr val="bg1"/>
              </a:solidFill>
            </a:endParaRPr>
          </a:p>
        </p:txBody>
      </p:sp>
    </p:spTree>
    <p:extLst>
      <p:ext uri="{BB962C8B-B14F-4D97-AF65-F5344CB8AC3E}">
        <p14:creationId xmlns:p14="http://schemas.microsoft.com/office/powerpoint/2010/main" val="2408098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1"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2" grpId="0" animBg="1"/>
      <p:bldP spid="13" grpId="0" animBg="1"/>
      <p:bldP spid="14" grpId="0" animBg="1"/>
      <p:bldP spid="16"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510704" y="5783283"/>
            <a:ext cx="8956240" cy="676748"/>
          </a:xfrm>
          <a:prstGeom prst="rect">
            <a:avLst/>
          </a:prstGeom>
        </p:spPr>
        <p:txBody>
          <a:bodyPr vert="horz" lIns="91440" tIns="0" rIns="0" bIns="0" rtlCol="0" anchor="b" anchorCtr="0">
            <a:noAutofit/>
          </a:bodyPr>
          <a:lstStyle/>
          <a:p>
            <a:pPr lvl="0" indent="0">
              <a:lnSpc>
                <a:spcPct val="90000"/>
              </a:lnSpc>
              <a:spcBef>
                <a:spcPts val="600"/>
              </a:spcBef>
              <a:buClr>
                <a:schemeClr val="bg2"/>
              </a:buClr>
              <a:buSzPct val="100000"/>
              <a:buFont typeface="Wingdings" panose="05000000000000000000" pitchFamily="2" charset="2"/>
              <a:buNone/>
            </a:pPr>
            <a:r>
              <a:rPr lang="en-US" sz="900" dirty="0">
                <a:solidFill>
                  <a:schemeClr val="bg1"/>
                </a:solidFill>
                <a:latin typeface="Arial" pitchFamily="34" charset="0"/>
                <a:cs typeface="Arial" pitchFamily="34" charset="0"/>
              </a:rPr>
              <a:t>©2015 RGA. All rights reserved.</a:t>
            </a:r>
          </a:p>
          <a:p>
            <a:r>
              <a:rPr lang="en-US" sz="900" dirty="0">
                <a:solidFill>
                  <a:schemeClr val="bg1"/>
                </a:solidFill>
                <a:latin typeface="Arial" pitchFamily="34" charset="0"/>
                <a:cs typeface="Arial" pitchFamily="34" charset="0"/>
              </a:rPr>
              <a:t>No part of this publication may be reproduced in any form without the prior permission of RGA. </a:t>
            </a:r>
          </a:p>
          <a:p>
            <a:r>
              <a:rPr lang="en-US" sz="900" dirty="0">
                <a:solidFill>
                  <a:schemeClr val="bg1"/>
                </a:solidFill>
                <a:latin typeface="Arial" pitchFamily="34" charset="0"/>
                <a:cs typeface="Arial" pitchFamily="34" charset="0"/>
              </a:rPr>
              <a:t>The information in this publication is for the exclusive, internal use of the recipient and may not be relied upon by any other party other than the recipient and its affiliates, or published, quoted or disseminated to any party other than the recipient without the prior written consent </a:t>
            </a:r>
            <a:r>
              <a:rPr lang="en-US" sz="900" dirty="0" smtClean="0">
                <a:solidFill>
                  <a:schemeClr val="bg1"/>
                </a:solidFill>
                <a:latin typeface="Arial" pitchFamily="34" charset="0"/>
                <a:cs typeface="Arial" pitchFamily="34" charset="0"/>
              </a:rPr>
              <a:t>of RGA</a:t>
            </a:r>
            <a:r>
              <a:rPr lang="en-US" sz="900" dirty="0">
                <a:solidFill>
                  <a:schemeClr val="bg1"/>
                </a:solidFill>
                <a:latin typeface="Arial" pitchFamily="34" charset="0"/>
                <a:cs typeface="Arial" pitchFamily="34" charset="0"/>
              </a:rPr>
              <a:t>.  </a:t>
            </a:r>
          </a:p>
        </p:txBody>
      </p:sp>
    </p:spTree>
    <p:extLst>
      <p:ext uri="{BB962C8B-B14F-4D97-AF65-F5344CB8AC3E}">
        <p14:creationId xmlns:p14="http://schemas.microsoft.com/office/powerpoint/2010/main" val="4291539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1704" y="60653"/>
            <a:ext cx="10690696" cy="1114661"/>
          </a:xfrm>
        </p:spPr>
        <p:txBody>
          <a:bodyPr/>
          <a:lstStyle/>
          <a:p>
            <a:r>
              <a:rPr lang="en-GB" dirty="0" smtClean="0"/>
              <a:t>A Balancing Act</a:t>
            </a:r>
            <a:endParaRPr lang="en-GB" dirty="0"/>
          </a:p>
        </p:txBody>
      </p:sp>
      <p:sp>
        <p:nvSpPr>
          <p:cNvPr id="3" name="Content Placeholder 2"/>
          <p:cNvSpPr>
            <a:spLocks noGrp="1"/>
          </p:cNvSpPr>
          <p:nvPr>
            <p:ph idx="1"/>
          </p:nvPr>
        </p:nvSpPr>
        <p:spPr/>
        <p:txBody>
          <a:bodyPr/>
          <a:lstStyle/>
          <a:p>
            <a:endParaRPr lang="en-GB" dirty="0"/>
          </a:p>
        </p:txBody>
      </p:sp>
      <p:sp>
        <p:nvSpPr>
          <p:cNvPr id="4" name="Text Placeholder 3"/>
          <p:cNvSpPr>
            <a:spLocks noGrp="1"/>
          </p:cNvSpPr>
          <p:nvPr>
            <p:ph type="body" sz="quarter" idx="16"/>
          </p:nvPr>
        </p:nvSpPr>
        <p:spPr/>
        <p:txBody>
          <a:bodyPr/>
          <a:lstStyle/>
          <a:p>
            <a:endParaRPr lang="en-GB"/>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28257" y="1896230"/>
            <a:ext cx="4862095" cy="4714118"/>
          </a:xfrm>
          <a:prstGeom prst="rect">
            <a:avLst/>
          </a:prstGeom>
        </p:spPr>
      </p:pic>
      <p:sp>
        <p:nvSpPr>
          <p:cNvPr id="8" name="Text Placeholder 5"/>
          <p:cNvSpPr txBox="1">
            <a:spLocks/>
          </p:cNvSpPr>
          <p:nvPr/>
        </p:nvSpPr>
        <p:spPr bwMode="gray">
          <a:xfrm>
            <a:off x="891704" y="1205723"/>
            <a:ext cx="10690696" cy="383292"/>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chemeClr val="accent1"/>
              </a:buClr>
              <a:buSzPct val="100000"/>
              <a:buFont typeface="Wingdings" panose="05000000000000000000" pitchFamily="2" charset="2"/>
              <a:buNone/>
              <a:defRPr lang="en-US" sz="2000" b="1" kern="1200" smtClean="0">
                <a:solidFill>
                  <a:schemeClr val="tx1"/>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chemeClr val="accent1"/>
              </a:buClr>
              <a:buSzPct val="110000"/>
              <a:buFont typeface="Arial" pitchFamily="34" charset="0"/>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chemeClr val="accent1"/>
              </a:buClr>
              <a:buFont typeface="Courier New" panose="02070309020205020404" pitchFamily="49" charset="0"/>
              <a:buChar char="o"/>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chemeClr val="accent1"/>
              </a:buClr>
              <a:buFont typeface="Arial" panose="020B0604020202020204" pitchFamily="34" charset="0"/>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chemeClr val="accent1"/>
              </a:buClr>
              <a:buFont typeface="Courier New" panose="02070309020205020404" pitchFamily="49" charset="0"/>
              <a:buChar char="o"/>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smtClean="0"/>
              <a:t>Servicing demand at a price that works</a:t>
            </a:r>
            <a:endParaRPr lang="en-GB" dirty="0"/>
          </a:p>
        </p:txBody>
      </p:sp>
    </p:spTree>
    <p:extLst>
      <p:ext uri="{BB962C8B-B14F-4D97-AF65-F5344CB8AC3E}">
        <p14:creationId xmlns:p14="http://schemas.microsoft.com/office/powerpoint/2010/main" val="41839727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p:cNvSpPr txBox="1">
            <a:spLocks/>
          </p:cNvSpPr>
          <p:nvPr/>
        </p:nvSpPr>
        <p:spPr bwMode="gray">
          <a:xfrm>
            <a:off x="891705" y="0"/>
            <a:ext cx="10690696" cy="1114661"/>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ts val="600"/>
              </a:spcBef>
              <a:buNone/>
              <a:defRPr sz="3200" b="1" kern="1200">
                <a:solidFill>
                  <a:schemeClr val="accent1"/>
                </a:solidFill>
                <a:latin typeface="+mj-lt"/>
                <a:ea typeface="+mj-ea"/>
                <a:cs typeface="+mj-cs"/>
              </a:defRPr>
            </a:lvl1pPr>
          </a:lstStyle>
          <a:p>
            <a:r>
              <a:rPr lang="en-US" dirty="0" smtClean="0"/>
              <a:t>Is reinsurer longevity capacity running out?</a:t>
            </a:r>
            <a:endParaRPr lang="en-US" dirty="0"/>
          </a:p>
        </p:txBody>
      </p:sp>
      <p:sp>
        <p:nvSpPr>
          <p:cNvPr id="71" name="Text Placeholder 7"/>
          <p:cNvSpPr txBox="1">
            <a:spLocks/>
          </p:cNvSpPr>
          <p:nvPr/>
        </p:nvSpPr>
        <p:spPr>
          <a:xfrm>
            <a:off x="891705" y="1185767"/>
            <a:ext cx="10690696" cy="383292"/>
          </a:xfrm>
          <a:prstGeom prst="rect">
            <a:avLst/>
          </a:prstGeom>
        </p:spPr>
        <p:txBody>
          <a:bodyPr/>
          <a:lstStyle>
            <a:lvl1pPr marL="292608" indent="-292608" algn="l" defTabSz="914400" rtl="0" eaLnBrk="1" latinLnBrk="0" hangingPunct="1">
              <a:lnSpc>
                <a:spcPct val="90000"/>
              </a:lnSpc>
              <a:spcBef>
                <a:spcPts val="2000"/>
              </a:spcBef>
              <a:buClr>
                <a:schemeClr val="accent1"/>
              </a:buClr>
              <a:buSzPct val="100000"/>
              <a:buFont typeface="Wingdings" panose="05000000000000000000" pitchFamily="2" charset="2"/>
              <a:buChar char="§"/>
              <a:defRPr sz="24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chemeClr val="accent1"/>
              </a:buClr>
              <a:buSzPct val="110000"/>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chemeClr val="accent1"/>
              </a:buClr>
              <a:buFont typeface="Courier New" panose="02070309020205020404" pitchFamily="49" charset="0"/>
              <a:buChar char="o"/>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chemeClr val="accent1"/>
              </a:buClr>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b="1" dirty="0" smtClean="0">
                <a:latin typeface="+mj-lt"/>
                <a:cs typeface="Arial" charset="0"/>
              </a:rPr>
              <a:t>Global exposure currently supports local appetite </a:t>
            </a:r>
            <a:endParaRPr lang="en-US" sz="2000" b="1" dirty="0">
              <a:latin typeface="+mj-lt"/>
              <a:cs typeface="Arial"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763" y="2270453"/>
            <a:ext cx="6234609" cy="3142147"/>
          </a:xfrm>
          <a:prstGeom prst="rect">
            <a:avLst/>
          </a:prstGeom>
        </p:spPr>
      </p:pic>
      <p:grpSp>
        <p:nvGrpSpPr>
          <p:cNvPr id="3" name="Group 2"/>
          <p:cNvGrpSpPr/>
          <p:nvPr/>
        </p:nvGrpSpPr>
        <p:grpSpPr>
          <a:xfrm>
            <a:off x="1326467" y="3260978"/>
            <a:ext cx="1984833" cy="1390313"/>
            <a:chOff x="1243340" y="2677380"/>
            <a:chExt cx="1984833" cy="1390313"/>
          </a:xfrm>
        </p:grpSpPr>
        <p:sp>
          <p:nvSpPr>
            <p:cNvPr id="7" name="Rectangle 6"/>
            <p:cNvSpPr/>
            <p:nvPr/>
          </p:nvSpPr>
          <p:spPr>
            <a:xfrm>
              <a:off x="1243340" y="3416942"/>
              <a:ext cx="1984833" cy="650751"/>
            </a:xfrm>
            <a:prstGeom prst="rect">
              <a:avLst/>
            </a:prstGeom>
            <a:ln/>
          </p:spPr>
          <p:style>
            <a:lnRef idx="3">
              <a:schemeClr val="lt1"/>
            </a:lnRef>
            <a:fillRef idx="1">
              <a:schemeClr val="accent3"/>
            </a:fillRef>
            <a:effectRef idx="1">
              <a:schemeClr val="accent3"/>
            </a:effectRef>
            <a:fontRef idx="minor">
              <a:schemeClr val="lt1"/>
            </a:fontRef>
          </p:style>
          <p:txBody>
            <a:bodyPr rtlCol="0" anchor="t"/>
            <a:lstStyle/>
            <a:p>
              <a:r>
                <a:rPr lang="en-GB" sz="1400" dirty="0" smtClean="0">
                  <a:solidFill>
                    <a:schemeClr val="bg1"/>
                  </a:solidFill>
                </a:rPr>
                <a:t>US mortality exposure $12trn Sum Assured**</a:t>
              </a:r>
              <a:endParaRPr lang="en-US" sz="1400" dirty="0">
                <a:solidFill>
                  <a:schemeClr val="bg1"/>
                </a:solidFill>
              </a:endParaRPr>
            </a:p>
          </p:txBody>
        </p:sp>
        <p:cxnSp>
          <p:nvCxnSpPr>
            <p:cNvPr id="9" name="Straight Arrow Connector 8"/>
            <p:cNvCxnSpPr>
              <a:stCxn id="7" idx="0"/>
            </p:cNvCxnSpPr>
            <p:nvPr/>
          </p:nvCxnSpPr>
          <p:spPr>
            <a:xfrm flipV="1">
              <a:off x="2235757" y="2677380"/>
              <a:ext cx="0" cy="739562"/>
            </a:xfrm>
            <a:prstGeom prst="straightConnector1">
              <a:avLst/>
            </a:prstGeom>
            <a:ln w="28575">
              <a:solidFill>
                <a:schemeClr val="accent3">
                  <a:lumMod val="75000"/>
                </a:schemeClr>
              </a:solidFill>
              <a:headEnd type="arrow"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3894722" y="2584959"/>
            <a:ext cx="2708163" cy="618422"/>
            <a:chOff x="3879907" y="2154378"/>
            <a:chExt cx="2708163" cy="618422"/>
          </a:xfrm>
        </p:grpSpPr>
        <p:sp>
          <p:nvSpPr>
            <p:cNvPr id="81" name="Rectangle 80"/>
            <p:cNvSpPr/>
            <p:nvPr/>
          </p:nvSpPr>
          <p:spPr>
            <a:xfrm>
              <a:off x="4603237" y="2154378"/>
              <a:ext cx="1984833" cy="618422"/>
            </a:xfrm>
            <a:prstGeom prst="rect">
              <a:avLst/>
            </a:prstGeom>
            <a:ln/>
          </p:spPr>
          <p:style>
            <a:lnRef idx="3">
              <a:schemeClr val="lt1"/>
            </a:lnRef>
            <a:fillRef idx="1">
              <a:schemeClr val="accent3"/>
            </a:fillRef>
            <a:effectRef idx="1">
              <a:schemeClr val="accent3"/>
            </a:effectRef>
            <a:fontRef idx="minor">
              <a:schemeClr val="lt1"/>
            </a:fontRef>
          </p:style>
          <p:txBody>
            <a:bodyPr rtlCol="0" anchor="t"/>
            <a:lstStyle/>
            <a:p>
              <a:r>
                <a:rPr lang="en-GB" sz="1400" dirty="0" smtClean="0">
                  <a:solidFill>
                    <a:schemeClr val="bg1"/>
                  </a:solidFill>
                </a:rPr>
                <a:t>UK mortality exposure c$4trn Sum Assured*</a:t>
              </a:r>
              <a:endParaRPr lang="en-US" sz="1400" dirty="0">
                <a:solidFill>
                  <a:schemeClr val="bg1"/>
                </a:solidFill>
              </a:endParaRPr>
            </a:p>
          </p:txBody>
        </p:sp>
        <p:cxnSp>
          <p:nvCxnSpPr>
            <p:cNvPr id="82" name="Straight Arrow Connector 81"/>
            <p:cNvCxnSpPr/>
            <p:nvPr/>
          </p:nvCxnSpPr>
          <p:spPr>
            <a:xfrm flipH="1" flipV="1">
              <a:off x="3879907" y="2509064"/>
              <a:ext cx="723331" cy="1"/>
            </a:xfrm>
            <a:prstGeom prst="straightConnector1">
              <a:avLst/>
            </a:prstGeom>
            <a:ln w="28575">
              <a:solidFill>
                <a:schemeClr val="accent3">
                  <a:lumMod val="75000"/>
                </a:schemeClr>
              </a:solidFill>
              <a:headEnd type="arrow"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235756" y="3260978"/>
            <a:ext cx="4256147" cy="2210248"/>
            <a:chOff x="2220942" y="2629697"/>
            <a:chExt cx="4256147" cy="2210248"/>
          </a:xfrm>
        </p:grpSpPr>
        <p:sp>
          <p:nvSpPr>
            <p:cNvPr id="85" name="Rectangle 84"/>
            <p:cNvSpPr/>
            <p:nvPr/>
          </p:nvSpPr>
          <p:spPr>
            <a:xfrm>
              <a:off x="4714219" y="3859555"/>
              <a:ext cx="1762870" cy="794085"/>
            </a:xfrm>
            <a:prstGeom prst="rect">
              <a:avLst/>
            </a:prstGeom>
            <a:ln/>
          </p:spPr>
          <p:style>
            <a:lnRef idx="3">
              <a:schemeClr val="lt1"/>
            </a:lnRef>
            <a:fillRef idx="1">
              <a:schemeClr val="accent2"/>
            </a:fillRef>
            <a:effectRef idx="1">
              <a:schemeClr val="accent2"/>
            </a:effectRef>
            <a:fontRef idx="minor">
              <a:schemeClr val="lt1"/>
            </a:fontRef>
          </p:style>
          <p:txBody>
            <a:bodyPr rtlCol="0" anchor="t"/>
            <a:lstStyle/>
            <a:p>
              <a:r>
                <a:rPr lang="en-GB" sz="1400" dirty="0" smtClean="0">
                  <a:solidFill>
                    <a:schemeClr val="bg1"/>
                  </a:solidFill>
                </a:rPr>
                <a:t>Size of UK longevity market c. $3.2trn***</a:t>
              </a:r>
              <a:endParaRPr lang="en-US" sz="1400" dirty="0">
                <a:solidFill>
                  <a:schemeClr val="bg1"/>
                </a:solidFill>
              </a:endParaRPr>
            </a:p>
          </p:txBody>
        </p:sp>
        <p:sp>
          <p:nvSpPr>
            <p:cNvPr id="19" name="Freeform 18"/>
            <p:cNvSpPr/>
            <p:nvPr/>
          </p:nvSpPr>
          <p:spPr>
            <a:xfrm>
              <a:off x="2220942" y="4078636"/>
              <a:ext cx="2355137" cy="761309"/>
            </a:xfrm>
            <a:custGeom>
              <a:avLst/>
              <a:gdLst>
                <a:gd name="connsiteX0" fmla="*/ 0 w 1888177"/>
                <a:gd name="connsiteY0" fmla="*/ 0 h 476825"/>
                <a:gd name="connsiteX1" fmla="*/ 771896 w 1888177"/>
                <a:gd name="connsiteY1" fmla="*/ 463138 h 476825"/>
                <a:gd name="connsiteX2" fmla="*/ 1888177 w 1888177"/>
                <a:gd name="connsiteY2" fmla="*/ 308759 h 476825"/>
              </a:gdLst>
              <a:ahLst/>
              <a:cxnLst>
                <a:cxn ang="0">
                  <a:pos x="connsiteX0" y="connsiteY0"/>
                </a:cxn>
                <a:cxn ang="0">
                  <a:pos x="connsiteX1" y="connsiteY1"/>
                </a:cxn>
                <a:cxn ang="0">
                  <a:pos x="connsiteX2" y="connsiteY2"/>
                </a:cxn>
              </a:cxnLst>
              <a:rect l="l" t="t" r="r" b="b"/>
              <a:pathLst>
                <a:path w="1888177" h="476825">
                  <a:moveTo>
                    <a:pt x="0" y="0"/>
                  </a:moveTo>
                  <a:cubicBezTo>
                    <a:pt x="228600" y="205839"/>
                    <a:pt x="457200" y="411678"/>
                    <a:pt x="771896" y="463138"/>
                  </a:cubicBezTo>
                  <a:cubicBezTo>
                    <a:pt x="1086592" y="514598"/>
                    <a:pt x="1487384" y="411678"/>
                    <a:pt x="1888177" y="308759"/>
                  </a:cubicBezTo>
                </a:path>
              </a:pathLst>
            </a:custGeom>
            <a:noFill/>
            <a:ln w="28575">
              <a:solidFill>
                <a:srgbClr val="006086"/>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Arrow Connector 20"/>
            <p:cNvCxnSpPr>
              <a:endCxn id="85" idx="0"/>
            </p:cNvCxnSpPr>
            <p:nvPr/>
          </p:nvCxnSpPr>
          <p:spPr>
            <a:xfrm>
              <a:off x="5595572" y="2629697"/>
              <a:ext cx="82" cy="1229858"/>
            </a:xfrm>
            <a:prstGeom prst="straightConnector1">
              <a:avLst/>
            </a:prstGeom>
            <a:ln w="28575">
              <a:solidFill>
                <a:srgbClr val="006086"/>
              </a:solidFill>
              <a:tailEnd type="arrow"/>
            </a:ln>
          </p:spPr>
          <p:style>
            <a:lnRef idx="1">
              <a:schemeClr val="accent1"/>
            </a:lnRef>
            <a:fillRef idx="0">
              <a:schemeClr val="accent1"/>
            </a:fillRef>
            <a:effectRef idx="0">
              <a:schemeClr val="accent1"/>
            </a:effectRef>
            <a:fontRef idx="minor">
              <a:schemeClr val="tx1"/>
            </a:fontRef>
          </p:style>
        </p:cxnSp>
      </p:grpSp>
      <p:sp>
        <p:nvSpPr>
          <p:cNvPr id="22" name="TextBox 21"/>
          <p:cNvSpPr txBox="1"/>
          <p:nvPr/>
        </p:nvSpPr>
        <p:spPr>
          <a:xfrm>
            <a:off x="974448" y="6143990"/>
            <a:ext cx="3806729" cy="507831"/>
          </a:xfrm>
          <a:prstGeom prst="rect">
            <a:avLst/>
          </a:prstGeom>
          <a:noFill/>
        </p:spPr>
        <p:txBody>
          <a:bodyPr wrap="square" rtlCol="0">
            <a:spAutoFit/>
          </a:bodyPr>
          <a:lstStyle/>
          <a:p>
            <a:r>
              <a:rPr lang="en-GB" sz="900" i="1" dirty="0" smtClean="0"/>
              <a:t>* ABI Long-Term Insurance Statistics 2016</a:t>
            </a:r>
          </a:p>
          <a:p>
            <a:r>
              <a:rPr lang="en-GB" sz="900" i="1" dirty="0" smtClean="0"/>
              <a:t>** ACLI 2015 Life Insurers Fact Book</a:t>
            </a:r>
          </a:p>
          <a:p>
            <a:r>
              <a:rPr lang="en-GB" sz="900" i="1" dirty="0" smtClean="0"/>
              <a:t>** Willis Towers Watson: De-risking Report 2016 Market Insight</a:t>
            </a:r>
            <a:endParaRPr lang="en-US" sz="900" i="1" dirty="0"/>
          </a:p>
        </p:txBody>
      </p:sp>
      <p:grpSp>
        <p:nvGrpSpPr>
          <p:cNvPr id="75" name="Group 74"/>
          <p:cNvGrpSpPr/>
          <p:nvPr/>
        </p:nvGrpSpPr>
        <p:grpSpPr>
          <a:xfrm>
            <a:off x="7158372" y="2481700"/>
            <a:ext cx="4420524" cy="3296595"/>
            <a:chOff x="1729905" y="2124489"/>
            <a:chExt cx="2799990" cy="2667750"/>
          </a:xfrm>
        </p:grpSpPr>
        <p:sp>
          <p:nvSpPr>
            <p:cNvPr id="76" name="Rectangle 75"/>
            <p:cNvSpPr/>
            <p:nvPr/>
          </p:nvSpPr>
          <p:spPr bwMode="gray">
            <a:xfrm>
              <a:off x="1729906" y="2583517"/>
              <a:ext cx="2799989" cy="170993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77" name="Text Placeholder 4"/>
            <p:cNvSpPr txBox="1">
              <a:spLocks/>
            </p:cNvSpPr>
            <p:nvPr/>
          </p:nvSpPr>
          <p:spPr bwMode="gray">
            <a:xfrm>
              <a:off x="1729906" y="2124489"/>
              <a:ext cx="2799989" cy="547594"/>
            </a:xfrm>
            <a:prstGeom prst="bracketPair">
              <a:avLst>
                <a:gd name="adj" fmla="val 0"/>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r>
                <a:rPr lang="en-US" sz="1800" dirty="0" smtClean="0"/>
                <a:t>Global mortality feeds UK longevity capacity</a:t>
              </a:r>
              <a:endParaRPr lang="en-US" sz="1800" dirty="0"/>
            </a:p>
          </p:txBody>
        </p:sp>
        <p:sp>
          <p:nvSpPr>
            <p:cNvPr id="78" name="Content Placeholder 9"/>
            <p:cNvSpPr txBox="1">
              <a:spLocks/>
            </p:cNvSpPr>
            <p:nvPr/>
          </p:nvSpPr>
          <p:spPr>
            <a:xfrm>
              <a:off x="1729905" y="2708504"/>
              <a:ext cx="2799989" cy="2083735"/>
            </a:xfrm>
            <a:prstGeom prst="rect">
              <a:avLst/>
            </a:prstGeom>
          </p:spPr>
          <p:txBody>
            <a:bodyPr/>
            <a:lstStyle>
              <a:lvl1pPr marL="292608" indent="-292608" algn="l" defTabSz="914400" rtl="0" eaLnBrk="1" latinLnBrk="0" hangingPunct="1">
                <a:lnSpc>
                  <a:spcPct val="90000"/>
                </a:lnSpc>
                <a:spcBef>
                  <a:spcPts val="2000"/>
                </a:spcBef>
                <a:buClr>
                  <a:schemeClr val="accent1"/>
                </a:buClr>
                <a:buSzPct val="100000"/>
                <a:buFont typeface="Wingdings" panose="05000000000000000000" pitchFamily="2" charset="2"/>
                <a:buChar char="§"/>
                <a:defRPr sz="24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chemeClr val="accent1"/>
                </a:buClr>
                <a:buSzPct val="110000"/>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chemeClr val="accent1"/>
                </a:buClr>
                <a:buFont typeface="Courier New" panose="02070309020205020404" pitchFamily="49" charset="0"/>
                <a:buChar char="o"/>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chemeClr val="accent1"/>
                </a:buClr>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900"/>
                </a:spcBef>
              </a:pPr>
              <a:r>
                <a:rPr lang="en-GB" sz="1600" dirty="0" smtClean="0"/>
                <a:t>UK is the most developed market for longevity players</a:t>
              </a:r>
            </a:p>
            <a:p>
              <a:pPr>
                <a:spcBef>
                  <a:spcPts val="900"/>
                </a:spcBef>
              </a:pPr>
              <a:r>
                <a:rPr lang="en-GB" sz="1600" dirty="0"/>
                <a:t>Reinsurers leverage global mortality books to deploy longevity capital in UK</a:t>
              </a:r>
              <a:endParaRPr lang="en-US" sz="1600" dirty="0"/>
            </a:p>
            <a:p>
              <a:pPr>
                <a:spcBef>
                  <a:spcPts val="900"/>
                </a:spcBef>
              </a:pPr>
              <a:r>
                <a:rPr lang="en-GB" sz="1600" dirty="0" smtClean="0"/>
                <a:t>Capacity generated from global mortality market could only support a fraction of total UK longevity exposure</a:t>
              </a:r>
            </a:p>
          </p:txBody>
        </p:sp>
      </p:grpSp>
    </p:spTree>
    <p:extLst>
      <p:ext uri="{BB962C8B-B14F-4D97-AF65-F5344CB8AC3E}">
        <p14:creationId xmlns:p14="http://schemas.microsoft.com/office/powerpoint/2010/main" val="2620869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p:cNvSpPr txBox="1">
            <a:spLocks/>
          </p:cNvSpPr>
          <p:nvPr/>
        </p:nvSpPr>
        <p:spPr bwMode="gray">
          <a:xfrm>
            <a:off x="891705" y="0"/>
            <a:ext cx="10690696" cy="1114661"/>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ts val="600"/>
              </a:spcBef>
              <a:buNone/>
              <a:defRPr sz="3200" b="1" kern="1200">
                <a:solidFill>
                  <a:schemeClr val="accent1"/>
                </a:solidFill>
                <a:latin typeface="+mj-lt"/>
                <a:ea typeface="+mj-ea"/>
                <a:cs typeface="+mj-cs"/>
              </a:defRPr>
            </a:lvl1pPr>
          </a:lstStyle>
          <a:p>
            <a:r>
              <a:rPr lang="en-US" dirty="0" smtClean="0"/>
              <a:t>Is reinsurers’ longevity capacity sustainable?</a:t>
            </a:r>
            <a:endParaRPr lang="en-US" dirty="0"/>
          </a:p>
        </p:txBody>
      </p:sp>
      <p:sp>
        <p:nvSpPr>
          <p:cNvPr id="71" name="Text Placeholder 7"/>
          <p:cNvSpPr txBox="1">
            <a:spLocks/>
          </p:cNvSpPr>
          <p:nvPr/>
        </p:nvSpPr>
        <p:spPr>
          <a:xfrm>
            <a:off x="891705" y="1185767"/>
            <a:ext cx="10690696" cy="383292"/>
          </a:xfrm>
          <a:prstGeom prst="rect">
            <a:avLst/>
          </a:prstGeom>
        </p:spPr>
        <p:txBody>
          <a:bodyPr/>
          <a:lstStyle>
            <a:lvl1pPr marL="292608" indent="-292608" algn="l" defTabSz="914400" rtl="0" eaLnBrk="1" latinLnBrk="0" hangingPunct="1">
              <a:lnSpc>
                <a:spcPct val="90000"/>
              </a:lnSpc>
              <a:spcBef>
                <a:spcPts val="2000"/>
              </a:spcBef>
              <a:buClr>
                <a:schemeClr val="accent1"/>
              </a:buClr>
              <a:buSzPct val="100000"/>
              <a:buFont typeface="Wingdings" panose="05000000000000000000" pitchFamily="2" charset="2"/>
              <a:buChar char="§"/>
              <a:defRPr sz="24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chemeClr val="accent1"/>
              </a:buClr>
              <a:buSzPct val="110000"/>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chemeClr val="accent1"/>
              </a:buClr>
              <a:buFont typeface="Courier New" panose="02070309020205020404" pitchFamily="49" charset="0"/>
              <a:buChar char="o"/>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chemeClr val="accent1"/>
              </a:buClr>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b="1" dirty="0" smtClean="0">
                <a:latin typeface="+mj-lt"/>
                <a:cs typeface="Arial" charset="0"/>
              </a:rPr>
              <a:t>Future capacity depends on new mortality business volumes</a:t>
            </a:r>
            <a:endParaRPr lang="en-US" sz="2000" b="1" dirty="0">
              <a:latin typeface="+mj-lt"/>
              <a:cs typeface="Arial" charset="0"/>
            </a:endParaRPr>
          </a:p>
        </p:txBody>
      </p:sp>
      <p:graphicFrame>
        <p:nvGraphicFramePr>
          <p:cNvPr id="35" name="Chart 34"/>
          <p:cNvGraphicFramePr>
            <a:graphicFrameLocks/>
          </p:cNvGraphicFramePr>
          <p:nvPr>
            <p:extLst>
              <p:ext uri="{D42A27DB-BD31-4B8C-83A1-F6EECF244321}">
                <p14:modId xmlns:p14="http://schemas.microsoft.com/office/powerpoint/2010/main" val="1130699233"/>
              </p:ext>
            </p:extLst>
          </p:nvPr>
        </p:nvGraphicFramePr>
        <p:xfrm>
          <a:off x="891705" y="1756881"/>
          <a:ext cx="5776223" cy="4236688"/>
        </p:xfrm>
        <a:graphic>
          <a:graphicData uri="http://schemas.openxmlformats.org/drawingml/2006/chart">
            <c:chart xmlns:c="http://schemas.openxmlformats.org/drawingml/2006/chart" xmlns:r="http://schemas.openxmlformats.org/officeDocument/2006/relationships" r:id="rId3"/>
          </a:graphicData>
        </a:graphic>
      </p:graphicFrame>
      <p:sp>
        <p:nvSpPr>
          <p:cNvPr id="6" name="Right Arrow 5"/>
          <p:cNvSpPr/>
          <p:nvPr/>
        </p:nvSpPr>
        <p:spPr>
          <a:xfrm rot="788940">
            <a:off x="1943062" y="2535236"/>
            <a:ext cx="2590811" cy="55933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3% annualised decline</a:t>
            </a:r>
            <a:endParaRPr lang="en-US" sz="1400" dirty="0"/>
          </a:p>
        </p:txBody>
      </p:sp>
      <p:sp>
        <p:nvSpPr>
          <p:cNvPr id="38" name="Right Arrow 37"/>
          <p:cNvSpPr/>
          <p:nvPr/>
        </p:nvSpPr>
        <p:spPr>
          <a:xfrm rot="20855359">
            <a:off x="1756945" y="3735581"/>
            <a:ext cx="2672331" cy="559337"/>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13% annualised increase</a:t>
            </a:r>
            <a:endParaRPr lang="en-US" sz="1400" dirty="0"/>
          </a:p>
        </p:txBody>
      </p:sp>
      <p:sp>
        <p:nvSpPr>
          <p:cNvPr id="39" name="TextBox 38"/>
          <p:cNvSpPr txBox="1"/>
          <p:nvPr/>
        </p:nvSpPr>
        <p:spPr>
          <a:xfrm>
            <a:off x="891705" y="6072071"/>
            <a:ext cx="3806729" cy="507831"/>
          </a:xfrm>
          <a:prstGeom prst="rect">
            <a:avLst/>
          </a:prstGeom>
          <a:noFill/>
        </p:spPr>
        <p:txBody>
          <a:bodyPr wrap="square" rtlCol="0">
            <a:spAutoFit/>
          </a:bodyPr>
          <a:lstStyle/>
          <a:p>
            <a:r>
              <a:rPr lang="en-GB" sz="900" i="1" dirty="0" smtClean="0"/>
              <a:t>* PV of DB pension liabilities  for buy-ins/outs, and longevity swaps</a:t>
            </a:r>
          </a:p>
          <a:p>
            <a:r>
              <a:rPr lang="en-GB" sz="900" i="1" dirty="0" smtClean="0"/>
              <a:t>Source: Hymans Robertson Risk Transfer Report 2016</a:t>
            </a:r>
          </a:p>
          <a:p>
            <a:r>
              <a:rPr lang="en-GB" sz="900" i="1" dirty="0" smtClean="0"/>
              <a:t>**ABI Long-Term Insurance Statistics</a:t>
            </a:r>
            <a:endParaRPr lang="en-US" sz="900" i="1" dirty="0"/>
          </a:p>
        </p:txBody>
      </p:sp>
      <p:grpSp>
        <p:nvGrpSpPr>
          <p:cNvPr id="20" name="Group 19"/>
          <p:cNvGrpSpPr/>
          <p:nvPr/>
        </p:nvGrpSpPr>
        <p:grpSpPr>
          <a:xfrm>
            <a:off x="7158372" y="2218308"/>
            <a:ext cx="4420524" cy="3775261"/>
            <a:chOff x="1729905" y="2124489"/>
            <a:chExt cx="2799990" cy="3055108"/>
          </a:xfrm>
        </p:grpSpPr>
        <p:sp>
          <p:nvSpPr>
            <p:cNvPr id="21" name="Rectangle 20"/>
            <p:cNvSpPr/>
            <p:nvPr/>
          </p:nvSpPr>
          <p:spPr bwMode="gray">
            <a:xfrm>
              <a:off x="1729906" y="2583517"/>
              <a:ext cx="2799989" cy="211840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2" name="Text Placeholder 4"/>
            <p:cNvSpPr txBox="1">
              <a:spLocks/>
            </p:cNvSpPr>
            <p:nvPr/>
          </p:nvSpPr>
          <p:spPr bwMode="gray">
            <a:xfrm>
              <a:off x="1729906" y="2124489"/>
              <a:ext cx="2799988" cy="547594"/>
            </a:xfrm>
            <a:prstGeom prst="bracketPair">
              <a:avLst>
                <a:gd name="adj" fmla="val 0"/>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r>
                <a:rPr lang="en-US" sz="1800" dirty="0" smtClean="0"/>
                <a:t>UK mortality is stagnating against a booming UK longevity market </a:t>
              </a:r>
              <a:endParaRPr lang="en-US" sz="1800" dirty="0"/>
            </a:p>
          </p:txBody>
        </p:sp>
        <p:sp>
          <p:nvSpPr>
            <p:cNvPr id="23" name="Content Placeholder 9"/>
            <p:cNvSpPr txBox="1">
              <a:spLocks/>
            </p:cNvSpPr>
            <p:nvPr/>
          </p:nvSpPr>
          <p:spPr>
            <a:xfrm>
              <a:off x="1729905" y="2708504"/>
              <a:ext cx="2799989" cy="2471093"/>
            </a:xfrm>
            <a:prstGeom prst="rect">
              <a:avLst/>
            </a:prstGeom>
          </p:spPr>
          <p:txBody>
            <a:bodyPr/>
            <a:lstStyle>
              <a:lvl1pPr marL="292608" indent="-292608" algn="l" defTabSz="914400" rtl="0" eaLnBrk="1" latinLnBrk="0" hangingPunct="1">
                <a:lnSpc>
                  <a:spcPct val="90000"/>
                </a:lnSpc>
                <a:spcBef>
                  <a:spcPts val="2000"/>
                </a:spcBef>
                <a:buClr>
                  <a:schemeClr val="accent1"/>
                </a:buClr>
                <a:buSzPct val="100000"/>
                <a:buFont typeface="Wingdings" panose="05000000000000000000" pitchFamily="2" charset="2"/>
                <a:buChar char="§"/>
                <a:defRPr sz="24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chemeClr val="accent1"/>
                </a:buClr>
                <a:buSzPct val="110000"/>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chemeClr val="accent1"/>
                </a:buClr>
                <a:buFont typeface="Courier New" panose="02070309020205020404" pitchFamily="49" charset="0"/>
                <a:buChar char="o"/>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chemeClr val="accent1"/>
                </a:buClr>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900"/>
                </a:spcBef>
              </a:pPr>
              <a:r>
                <a:rPr lang="en-GB" sz="1600" dirty="0" smtClean="0"/>
                <a:t>UK is the most developed market for longevity players</a:t>
              </a:r>
            </a:p>
            <a:p>
              <a:pPr>
                <a:spcBef>
                  <a:spcPts val="900"/>
                </a:spcBef>
              </a:pPr>
              <a:r>
                <a:rPr lang="en-GB" sz="1600" dirty="0"/>
                <a:t>Reinsurers leverage global mortality books to deploy longevity capital in UK</a:t>
              </a:r>
              <a:endParaRPr lang="en-US" sz="1600" dirty="0"/>
            </a:p>
            <a:p>
              <a:pPr>
                <a:spcBef>
                  <a:spcPts val="900"/>
                </a:spcBef>
              </a:pPr>
              <a:r>
                <a:rPr lang="en-GB" sz="1600" dirty="0" smtClean="0"/>
                <a:t>Capacity generated from global mortality market could only support a fraction of total UK longevity exposure</a:t>
              </a:r>
            </a:p>
            <a:p>
              <a:pPr>
                <a:spcBef>
                  <a:spcPts val="900"/>
                </a:spcBef>
              </a:pPr>
              <a:r>
                <a:rPr lang="en-GB" sz="1600" dirty="0" smtClean="0"/>
                <a:t>Innovation in the mortality market might serve to increase volumes</a:t>
              </a:r>
            </a:p>
          </p:txBody>
        </p:sp>
      </p:grpSp>
      <p:cxnSp>
        <p:nvCxnSpPr>
          <p:cNvPr id="3" name="Straight Connector 2"/>
          <p:cNvCxnSpPr/>
          <p:nvPr/>
        </p:nvCxnSpPr>
        <p:spPr>
          <a:xfrm>
            <a:off x="7158372" y="1962364"/>
            <a:ext cx="0" cy="36576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78241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5">
                                            <p:graphicEl>
                                              <a:chart seriesIdx="-3" categoryIdx="-3" bldStep="gridLegend"/>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
                                            <p:graphicEl>
                                              <a:chart seriesIdx="0" categoryIdx="-4" bldStep="series"/>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5">
                                            <p:graphicEl>
                                              <a:chart seriesIdx="1" categoryIdx="-4" bldStep="series"/>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5" grpId="0" uiExpand="1">
        <p:bldSub>
          <a:bldChart bld="series"/>
        </p:bldSub>
      </p:bldGraphic>
      <p:bldP spid="6" grpId="0" animBg="1"/>
      <p:bldP spid="38" grpId="0" animBg="1"/>
      <p:bldP spid="3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2">
            <a:clrChange>
              <a:clrFrom>
                <a:srgbClr val="EEEEEE"/>
              </a:clrFrom>
              <a:clrTo>
                <a:srgbClr val="EEEEEE">
                  <a:alpha val="0"/>
                </a:srgbClr>
              </a:clrTo>
            </a:clrChange>
            <a:extLst>
              <a:ext uri="{28A0092B-C50C-407E-A947-70E740481C1C}">
                <a14:useLocalDpi xmlns:a14="http://schemas.microsoft.com/office/drawing/2010/main" val="0"/>
              </a:ext>
            </a:extLst>
          </a:blip>
          <a:stretch>
            <a:fillRect/>
          </a:stretch>
        </p:blipFill>
        <p:spPr>
          <a:xfrm>
            <a:off x="3435907" y="1588921"/>
            <a:ext cx="3833386" cy="4431143"/>
          </a:xfrm>
          <a:prstGeom prst="rect">
            <a:avLst/>
          </a:prstGeom>
        </p:spPr>
      </p:pic>
      <p:sp>
        <p:nvSpPr>
          <p:cNvPr id="4" name="Title 3"/>
          <p:cNvSpPr>
            <a:spLocks noGrp="1"/>
          </p:cNvSpPr>
          <p:nvPr>
            <p:ph type="title"/>
          </p:nvPr>
        </p:nvSpPr>
        <p:spPr/>
        <p:txBody>
          <a:bodyPr/>
          <a:lstStyle/>
          <a:p>
            <a:r>
              <a:rPr lang="en-GB" dirty="0" smtClean="0"/>
              <a:t>Why is the market localised?</a:t>
            </a:r>
            <a:endParaRPr lang="en-GB" dirty="0"/>
          </a:p>
        </p:txBody>
      </p:sp>
      <p:sp>
        <p:nvSpPr>
          <p:cNvPr id="7" name="Text Placeholder 6"/>
          <p:cNvSpPr>
            <a:spLocks noGrp="1"/>
          </p:cNvSpPr>
          <p:nvPr>
            <p:ph type="body" sz="quarter" idx="16"/>
          </p:nvPr>
        </p:nvSpPr>
        <p:spPr/>
        <p:txBody>
          <a:bodyPr/>
          <a:lstStyle/>
          <a:p>
            <a:endParaRPr lang="en-GB"/>
          </a:p>
        </p:txBody>
      </p:sp>
      <p:sp>
        <p:nvSpPr>
          <p:cNvPr id="6" name="Text Placeholder 5"/>
          <p:cNvSpPr>
            <a:spLocks noGrp="1"/>
          </p:cNvSpPr>
          <p:nvPr>
            <p:ph type="body" sz="quarter" idx="15"/>
          </p:nvPr>
        </p:nvSpPr>
        <p:spPr/>
        <p:txBody>
          <a:bodyPr/>
          <a:lstStyle/>
          <a:p>
            <a:r>
              <a:rPr lang="en-GB" dirty="0" smtClean="0"/>
              <a:t>UK is the most mature market by far</a:t>
            </a:r>
            <a:endParaRPr lang="en-GB" dirty="0"/>
          </a:p>
        </p:txBody>
      </p:sp>
      <p:sp>
        <p:nvSpPr>
          <p:cNvPr id="9" name="Rectangle 8"/>
          <p:cNvSpPr/>
          <p:nvPr/>
        </p:nvSpPr>
        <p:spPr>
          <a:xfrm>
            <a:off x="2029200" y="1457942"/>
            <a:ext cx="7226640" cy="4705088"/>
          </a:xfrm>
          <a:prstGeom prst="rect">
            <a:avLst/>
          </a:prstGeom>
          <a:noFill/>
        </p:spPr>
      </p:sp>
      <p:sp>
        <p:nvSpPr>
          <p:cNvPr id="10" name="Freeform 9"/>
          <p:cNvSpPr/>
          <p:nvPr/>
        </p:nvSpPr>
        <p:spPr>
          <a:xfrm>
            <a:off x="5743898" y="2108749"/>
            <a:ext cx="1516194" cy="1742752"/>
          </a:xfrm>
          <a:custGeom>
            <a:avLst/>
            <a:gdLst>
              <a:gd name="connsiteX0" fmla="*/ 0 w 1742752"/>
              <a:gd name="connsiteY0" fmla="*/ 758097 h 1516194"/>
              <a:gd name="connsiteX1" fmla="*/ 379049 w 1742752"/>
              <a:gd name="connsiteY1" fmla="*/ 0 h 1516194"/>
              <a:gd name="connsiteX2" fmla="*/ 1363704 w 1742752"/>
              <a:gd name="connsiteY2" fmla="*/ 0 h 1516194"/>
              <a:gd name="connsiteX3" fmla="*/ 1742752 w 1742752"/>
              <a:gd name="connsiteY3" fmla="*/ 758097 h 1516194"/>
              <a:gd name="connsiteX4" fmla="*/ 1363704 w 1742752"/>
              <a:gd name="connsiteY4" fmla="*/ 1516194 h 1516194"/>
              <a:gd name="connsiteX5" fmla="*/ 379049 w 1742752"/>
              <a:gd name="connsiteY5" fmla="*/ 1516194 h 1516194"/>
              <a:gd name="connsiteX6" fmla="*/ 0 w 1742752"/>
              <a:gd name="connsiteY6" fmla="*/ 758097 h 151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2752" h="1516194">
                <a:moveTo>
                  <a:pt x="871376" y="0"/>
                </a:moveTo>
                <a:lnTo>
                  <a:pt x="1742752" y="329773"/>
                </a:lnTo>
                <a:lnTo>
                  <a:pt x="1742752" y="1186422"/>
                </a:lnTo>
                <a:lnTo>
                  <a:pt x="871376" y="1516194"/>
                </a:lnTo>
                <a:lnTo>
                  <a:pt x="0" y="1186422"/>
                </a:lnTo>
                <a:lnTo>
                  <a:pt x="0" y="329773"/>
                </a:lnTo>
                <a:lnTo>
                  <a:pt x="871376" y="0"/>
                </a:lnTo>
                <a:close/>
              </a:path>
            </a:pathLst>
          </a:custGeom>
          <a:solidFill>
            <a:schemeClr val="lt1">
              <a:hueOff val="0"/>
              <a:satOff val="0"/>
              <a:lumOff val="0"/>
              <a:alpha val="3000"/>
            </a:schemeClr>
          </a:solidFill>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81994" tIns="317299" rIns="281994" bIns="317299" numCol="1" spcCol="1270" anchor="ctr" anchorCtr="0">
            <a:noAutofit/>
          </a:bodyPr>
          <a:lstStyle/>
          <a:p>
            <a:pPr lvl="0" algn="ctr" defTabSz="533400">
              <a:lnSpc>
                <a:spcPct val="90000"/>
              </a:lnSpc>
              <a:spcBef>
                <a:spcPct val="0"/>
              </a:spcBef>
              <a:spcAft>
                <a:spcPct val="35000"/>
              </a:spcAft>
            </a:pPr>
            <a:r>
              <a:rPr lang="en-GB" sz="1200" b="1" kern="1200" dirty="0" smtClean="0"/>
              <a:t>Market makers</a:t>
            </a:r>
            <a:endParaRPr lang="en-GB" sz="1200" b="1" kern="1200" dirty="0"/>
          </a:p>
        </p:txBody>
      </p:sp>
      <p:sp>
        <p:nvSpPr>
          <p:cNvPr id="11" name="Freeform 10"/>
          <p:cNvSpPr/>
          <p:nvPr/>
        </p:nvSpPr>
        <p:spPr>
          <a:xfrm>
            <a:off x="6834562" y="1808411"/>
            <a:ext cx="1944911" cy="1045651"/>
          </a:xfrm>
          <a:custGeom>
            <a:avLst/>
            <a:gdLst>
              <a:gd name="connsiteX0" fmla="*/ 0 w 1944911"/>
              <a:gd name="connsiteY0" fmla="*/ 0 h 1045651"/>
              <a:gd name="connsiteX1" fmla="*/ 1944911 w 1944911"/>
              <a:gd name="connsiteY1" fmla="*/ 0 h 1045651"/>
              <a:gd name="connsiteX2" fmla="*/ 1944911 w 1944911"/>
              <a:gd name="connsiteY2" fmla="*/ 1045651 h 1045651"/>
              <a:gd name="connsiteX3" fmla="*/ 0 w 1944911"/>
              <a:gd name="connsiteY3" fmla="*/ 1045651 h 1045651"/>
              <a:gd name="connsiteX4" fmla="*/ 0 w 1944911"/>
              <a:gd name="connsiteY4" fmla="*/ 0 h 104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4911" h="1045651">
                <a:moveTo>
                  <a:pt x="0" y="0"/>
                </a:moveTo>
                <a:lnTo>
                  <a:pt x="1944911" y="0"/>
                </a:lnTo>
                <a:lnTo>
                  <a:pt x="1944911" y="1045651"/>
                </a:lnTo>
                <a:lnTo>
                  <a:pt x="0" y="104565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endParaRPr lang="en-GB" sz="2400" kern="1200"/>
          </a:p>
        </p:txBody>
      </p:sp>
      <p:sp>
        <p:nvSpPr>
          <p:cNvPr id="12" name="Freeform 11"/>
          <p:cNvSpPr/>
          <p:nvPr/>
        </p:nvSpPr>
        <p:spPr>
          <a:xfrm>
            <a:off x="4106408" y="2108749"/>
            <a:ext cx="1516194" cy="1742752"/>
          </a:xfrm>
          <a:custGeom>
            <a:avLst/>
            <a:gdLst>
              <a:gd name="connsiteX0" fmla="*/ 0 w 1742752"/>
              <a:gd name="connsiteY0" fmla="*/ 758097 h 1516194"/>
              <a:gd name="connsiteX1" fmla="*/ 379049 w 1742752"/>
              <a:gd name="connsiteY1" fmla="*/ 0 h 1516194"/>
              <a:gd name="connsiteX2" fmla="*/ 1363704 w 1742752"/>
              <a:gd name="connsiteY2" fmla="*/ 0 h 1516194"/>
              <a:gd name="connsiteX3" fmla="*/ 1742752 w 1742752"/>
              <a:gd name="connsiteY3" fmla="*/ 758097 h 1516194"/>
              <a:gd name="connsiteX4" fmla="*/ 1363704 w 1742752"/>
              <a:gd name="connsiteY4" fmla="*/ 1516194 h 1516194"/>
              <a:gd name="connsiteX5" fmla="*/ 379049 w 1742752"/>
              <a:gd name="connsiteY5" fmla="*/ 1516194 h 1516194"/>
              <a:gd name="connsiteX6" fmla="*/ 0 w 1742752"/>
              <a:gd name="connsiteY6" fmla="*/ 758097 h 151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2752" h="1516194">
                <a:moveTo>
                  <a:pt x="871376" y="0"/>
                </a:moveTo>
                <a:lnTo>
                  <a:pt x="1742752" y="329773"/>
                </a:lnTo>
                <a:lnTo>
                  <a:pt x="1742752" y="1186422"/>
                </a:lnTo>
                <a:lnTo>
                  <a:pt x="871376" y="1516194"/>
                </a:lnTo>
                <a:lnTo>
                  <a:pt x="0" y="1186422"/>
                </a:lnTo>
                <a:lnTo>
                  <a:pt x="0" y="329773"/>
                </a:lnTo>
                <a:lnTo>
                  <a:pt x="871376" y="0"/>
                </a:lnTo>
                <a:close/>
              </a:path>
            </a:pathLst>
          </a:custGeom>
          <a:solidFill>
            <a:schemeClr val="lt1">
              <a:hueOff val="0"/>
              <a:satOff val="0"/>
              <a:lumOff val="0"/>
              <a:alpha val="3000"/>
            </a:schemeClr>
          </a:solidFill>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36274" tIns="271579" rIns="236274" bIns="271579" numCol="1" spcCol="1270" anchor="ctr" anchorCtr="0">
            <a:noAutofit/>
          </a:bodyPr>
          <a:lstStyle/>
          <a:p>
            <a:pPr lvl="0" algn="ctr" defTabSz="466725">
              <a:lnSpc>
                <a:spcPct val="90000"/>
              </a:lnSpc>
              <a:spcBef>
                <a:spcPct val="0"/>
              </a:spcBef>
              <a:spcAft>
                <a:spcPct val="35000"/>
              </a:spcAft>
            </a:pPr>
            <a:r>
              <a:rPr lang="en-GB" sz="1200" b="1" kern="1200" dirty="0" smtClean="0"/>
              <a:t>Lack of predictability</a:t>
            </a:r>
            <a:endParaRPr lang="en-GB" sz="1200" b="1" kern="1200" dirty="0"/>
          </a:p>
        </p:txBody>
      </p:sp>
      <p:sp>
        <p:nvSpPr>
          <p:cNvPr id="13" name="Freeform 12"/>
          <p:cNvSpPr/>
          <p:nvPr/>
        </p:nvSpPr>
        <p:spPr>
          <a:xfrm>
            <a:off x="4922016" y="3587997"/>
            <a:ext cx="1516194" cy="1742752"/>
          </a:xfrm>
          <a:custGeom>
            <a:avLst/>
            <a:gdLst>
              <a:gd name="connsiteX0" fmla="*/ 0 w 1742752"/>
              <a:gd name="connsiteY0" fmla="*/ 758097 h 1516194"/>
              <a:gd name="connsiteX1" fmla="*/ 379049 w 1742752"/>
              <a:gd name="connsiteY1" fmla="*/ 0 h 1516194"/>
              <a:gd name="connsiteX2" fmla="*/ 1363704 w 1742752"/>
              <a:gd name="connsiteY2" fmla="*/ 0 h 1516194"/>
              <a:gd name="connsiteX3" fmla="*/ 1742752 w 1742752"/>
              <a:gd name="connsiteY3" fmla="*/ 758097 h 1516194"/>
              <a:gd name="connsiteX4" fmla="*/ 1363704 w 1742752"/>
              <a:gd name="connsiteY4" fmla="*/ 1516194 h 1516194"/>
              <a:gd name="connsiteX5" fmla="*/ 379049 w 1742752"/>
              <a:gd name="connsiteY5" fmla="*/ 1516194 h 1516194"/>
              <a:gd name="connsiteX6" fmla="*/ 0 w 1742752"/>
              <a:gd name="connsiteY6" fmla="*/ 758097 h 151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2752" h="1516194">
                <a:moveTo>
                  <a:pt x="871376" y="0"/>
                </a:moveTo>
                <a:lnTo>
                  <a:pt x="1742752" y="329773"/>
                </a:lnTo>
                <a:lnTo>
                  <a:pt x="1742752" y="1186422"/>
                </a:lnTo>
                <a:lnTo>
                  <a:pt x="871376" y="1516194"/>
                </a:lnTo>
                <a:lnTo>
                  <a:pt x="0" y="1186422"/>
                </a:lnTo>
                <a:lnTo>
                  <a:pt x="0" y="329773"/>
                </a:lnTo>
                <a:lnTo>
                  <a:pt x="871376" y="0"/>
                </a:lnTo>
                <a:close/>
              </a:path>
            </a:pathLst>
          </a:custGeom>
          <a:solidFill>
            <a:schemeClr val="lt1">
              <a:hueOff val="0"/>
              <a:satOff val="0"/>
              <a:lumOff val="0"/>
              <a:alpha val="3000"/>
            </a:schemeClr>
          </a:solidFill>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81994" tIns="317299" rIns="281994" bIns="317299" numCol="1" spcCol="1270" anchor="ctr" anchorCtr="0">
            <a:noAutofit/>
          </a:bodyPr>
          <a:lstStyle/>
          <a:p>
            <a:pPr lvl="0" algn="ctr" defTabSz="533400">
              <a:lnSpc>
                <a:spcPct val="90000"/>
              </a:lnSpc>
              <a:spcBef>
                <a:spcPct val="0"/>
              </a:spcBef>
              <a:spcAft>
                <a:spcPct val="35000"/>
              </a:spcAft>
            </a:pPr>
            <a:r>
              <a:rPr lang="en-GB" sz="1200" b="1" kern="1200" dirty="0" smtClean="0"/>
              <a:t>Product set</a:t>
            </a:r>
            <a:endParaRPr lang="en-GB" sz="1200" b="1" kern="1200" dirty="0"/>
          </a:p>
        </p:txBody>
      </p:sp>
      <p:sp>
        <p:nvSpPr>
          <p:cNvPr id="14" name="Freeform 13"/>
          <p:cNvSpPr/>
          <p:nvPr/>
        </p:nvSpPr>
        <p:spPr>
          <a:xfrm>
            <a:off x="2505565" y="3287660"/>
            <a:ext cx="1882172" cy="1045651"/>
          </a:xfrm>
          <a:custGeom>
            <a:avLst/>
            <a:gdLst>
              <a:gd name="connsiteX0" fmla="*/ 0 w 1882172"/>
              <a:gd name="connsiteY0" fmla="*/ 0 h 1045651"/>
              <a:gd name="connsiteX1" fmla="*/ 1882172 w 1882172"/>
              <a:gd name="connsiteY1" fmla="*/ 0 h 1045651"/>
              <a:gd name="connsiteX2" fmla="*/ 1882172 w 1882172"/>
              <a:gd name="connsiteY2" fmla="*/ 1045651 h 1045651"/>
              <a:gd name="connsiteX3" fmla="*/ 0 w 1882172"/>
              <a:gd name="connsiteY3" fmla="*/ 1045651 h 1045651"/>
              <a:gd name="connsiteX4" fmla="*/ 0 w 1882172"/>
              <a:gd name="connsiteY4" fmla="*/ 0 h 104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172" h="1045651">
                <a:moveTo>
                  <a:pt x="0" y="0"/>
                </a:moveTo>
                <a:lnTo>
                  <a:pt x="1882172" y="0"/>
                </a:lnTo>
                <a:lnTo>
                  <a:pt x="1882172" y="1045651"/>
                </a:lnTo>
                <a:lnTo>
                  <a:pt x="0" y="104565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91440" rIns="91440" bIns="91440" numCol="1" spcCol="1270" anchor="ctr" anchorCtr="0">
            <a:noAutofit/>
          </a:bodyPr>
          <a:lstStyle/>
          <a:p>
            <a:pPr lvl="0" algn="r" defTabSz="1066800">
              <a:lnSpc>
                <a:spcPct val="90000"/>
              </a:lnSpc>
              <a:spcBef>
                <a:spcPct val="0"/>
              </a:spcBef>
              <a:spcAft>
                <a:spcPct val="35000"/>
              </a:spcAft>
            </a:pPr>
            <a:endParaRPr lang="en-GB" sz="2400" kern="1200"/>
          </a:p>
        </p:txBody>
      </p:sp>
      <p:sp>
        <p:nvSpPr>
          <p:cNvPr id="15" name="Freeform 14"/>
          <p:cNvSpPr/>
          <p:nvPr/>
        </p:nvSpPr>
        <p:spPr>
          <a:xfrm>
            <a:off x="6559506" y="3587997"/>
            <a:ext cx="1516194" cy="1742752"/>
          </a:xfrm>
          <a:custGeom>
            <a:avLst/>
            <a:gdLst>
              <a:gd name="connsiteX0" fmla="*/ 0 w 1742752"/>
              <a:gd name="connsiteY0" fmla="*/ 758097 h 1516194"/>
              <a:gd name="connsiteX1" fmla="*/ 379049 w 1742752"/>
              <a:gd name="connsiteY1" fmla="*/ 0 h 1516194"/>
              <a:gd name="connsiteX2" fmla="*/ 1363704 w 1742752"/>
              <a:gd name="connsiteY2" fmla="*/ 0 h 1516194"/>
              <a:gd name="connsiteX3" fmla="*/ 1742752 w 1742752"/>
              <a:gd name="connsiteY3" fmla="*/ 758097 h 1516194"/>
              <a:gd name="connsiteX4" fmla="*/ 1363704 w 1742752"/>
              <a:gd name="connsiteY4" fmla="*/ 1516194 h 1516194"/>
              <a:gd name="connsiteX5" fmla="*/ 379049 w 1742752"/>
              <a:gd name="connsiteY5" fmla="*/ 1516194 h 1516194"/>
              <a:gd name="connsiteX6" fmla="*/ 0 w 1742752"/>
              <a:gd name="connsiteY6" fmla="*/ 758097 h 151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2752" h="1516194">
                <a:moveTo>
                  <a:pt x="871376" y="0"/>
                </a:moveTo>
                <a:lnTo>
                  <a:pt x="1742752" y="329773"/>
                </a:lnTo>
                <a:lnTo>
                  <a:pt x="1742752" y="1186422"/>
                </a:lnTo>
                <a:lnTo>
                  <a:pt x="871376" y="1516194"/>
                </a:lnTo>
                <a:lnTo>
                  <a:pt x="0" y="1186422"/>
                </a:lnTo>
                <a:lnTo>
                  <a:pt x="0" y="329773"/>
                </a:lnTo>
                <a:lnTo>
                  <a:pt x="871376" y="0"/>
                </a:lnTo>
                <a:close/>
              </a:path>
            </a:pathLst>
          </a:custGeom>
          <a:solidFill>
            <a:schemeClr val="lt1">
              <a:hueOff val="0"/>
              <a:satOff val="0"/>
              <a:lumOff val="0"/>
              <a:alpha val="3000"/>
            </a:schemeClr>
          </a:solidFill>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36274" tIns="271579" rIns="236274" bIns="271579" numCol="1" spcCol="1270" anchor="ctr" anchorCtr="0">
            <a:noAutofit/>
          </a:bodyPr>
          <a:lstStyle/>
          <a:p>
            <a:pPr lvl="0" algn="ctr" defTabSz="533400">
              <a:lnSpc>
                <a:spcPct val="90000"/>
              </a:lnSpc>
              <a:spcBef>
                <a:spcPct val="0"/>
              </a:spcBef>
              <a:spcAft>
                <a:spcPct val="35000"/>
              </a:spcAft>
            </a:pPr>
            <a:r>
              <a:rPr lang="en-GB" sz="1200" b="1" kern="1200" dirty="0" smtClean="0"/>
              <a:t>Interest rates</a:t>
            </a:r>
            <a:endParaRPr lang="en-GB" sz="1200" b="1" kern="1200" dirty="0"/>
          </a:p>
        </p:txBody>
      </p:sp>
      <p:sp>
        <p:nvSpPr>
          <p:cNvPr id="16" name="Freeform 15"/>
          <p:cNvSpPr/>
          <p:nvPr/>
        </p:nvSpPr>
        <p:spPr>
          <a:xfrm>
            <a:off x="3267845" y="3582003"/>
            <a:ext cx="1516194" cy="1742753"/>
          </a:xfrm>
          <a:custGeom>
            <a:avLst/>
            <a:gdLst>
              <a:gd name="connsiteX0" fmla="*/ 0 w 1742752"/>
              <a:gd name="connsiteY0" fmla="*/ 758097 h 1516194"/>
              <a:gd name="connsiteX1" fmla="*/ 379049 w 1742752"/>
              <a:gd name="connsiteY1" fmla="*/ 0 h 1516194"/>
              <a:gd name="connsiteX2" fmla="*/ 1363704 w 1742752"/>
              <a:gd name="connsiteY2" fmla="*/ 0 h 1516194"/>
              <a:gd name="connsiteX3" fmla="*/ 1742752 w 1742752"/>
              <a:gd name="connsiteY3" fmla="*/ 758097 h 1516194"/>
              <a:gd name="connsiteX4" fmla="*/ 1363704 w 1742752"/>
              <a:gd name="connsiteY4" fmla="*/ 1516194 h 1516194"/>
              <a:gd name="connsiteX5" fmla="*/ 379049 w 1742752"/>
              <a:gd name="connsiteY5" fmla="*/ 1516194 h 1516194"/>
              <a:gd name="connsiteX6" fmla="*/ 0 w 1742752"/>
              <a:gd name="connsiteY6" fmla="*/ 758097 h 151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2752" h="1516194">
                <a:moveTo>
                  <a:pt x="871376" y="0"/>
                </a:moveTo>
                <a:lnTo>
                  <a:pt x="1742752" y="329773"/>
                </a:lnTo>
                <a:lnTo>
                  <a:pt x="1742752" y="1186422"/>
                </a:lnTo>
                <a:lnTo>
                  <a:pt x="871376" y="1516194"/>
                </a:lnTo>
                <a:lnTo>
                  <a:pt x="0" y="1186422"/>
                </a:lnTo>
                <a:lnTo>
                  <a:pt x="0" y="329773"/>
                </a:lnTo>
                <a:lnTo>
                  <a:pt x="871376" y="0"/>
                </a:lnTo>
                <a:close/>
              </a:path>
            </a:pathLst>
          </a:custGeom>
          <a:solidFill>
            <a:schemeClr val="lt1">
              <a:hueOff val="0"/>
              <a:satOff val="0"/>
              <a:lumOff val="0"/>
              <a:alpha val="3000"/>
            </a:schemeClr>
          </a:solidFill>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81994" tIns="317300" rIns="281994" bIns="317299" numCol="1" spcCol="1270" anchor="ctr" anchorCtr="0">
            <a:noAutofit/>
          </a:bodyPr>
          <a:lstStyle/>
          <a:p>
            <a:pPr lvl="0" algn="ctr" defTabSz="533400">
              <a:lnSpc>
                <a:spcPct val="90000"/>
              </a:lnSpc>
              <a:spcBef>
                <a:spcPct val="0"/>
              </a:spcBef>
              <a:spcAft>
                <a:spcPct val="35000"/>
              </a:spcAft>
            </a:pPr>
            <a:r>
              <a:rPr lang="en-GB" sz="1200" b="1" kern="1200" dirty="0" smtClean="0"/>
              <a:t>Improvers</a:t>
            </a:r>
            <a:endParaRPr lang="en-GB" sz="1200" b="1" kern="1200" dirty="0"/>
          </a:p>
        </p:txBody>
      </p:sp>
      <p:sp>
        <p:nvSpPr>
          <p:cNvPr id="17" name="Freeform 16"/>
          <p:cNvSpPr/>
          <p:nvPr/>
        </p:nvSpPr>
        <p:spPr>
          <a:xfrm>
            <a:off x="6834562" y="4766908"/>
            <a:ext cx="1944911" cy="1045651"/>
          </a:xfrm>
          <a:custGeom>
            <a:avLst/>
            <a:gdLst>
              <a:gd name="connsiteX0" fmla="*/ 0 w 1944911"/>
              <a:gd name="connsiteY0" fmla="*/ 0 h 1045651"/>
              <a:gd name="connsiteX1" fmla="*/ 1944911 w 1944911"/>
              <a:gd name="connsiteY1" fmla="*/ 0 h 1045651"/>
              <a:gd name="connsiteX2" fmla="*/ 1944911 w 1944911"/>
              <a:gd name="connsiteY2" fmla="*/ 1045651 h 1045651"/>
              <a:gd name="connsiteX3" fmla="*/ 0 w 1944911"/>
              <a:gd name="connsiteY3" fmla="*/ 1045651 h 1045651"/>
              <a:gd name="connsiteX4" fmla="*/ 0 w 1944911"/>
              <a:gd name="connsiteY4" fmla="*/ 0 h 104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4911" h="1045651">
                <a:moveTo>
                  <a:pt x="0" y="0"/>
                </a:moveTo>
                <a:lnTo>
                  <a:pt x="1944911" y="0"/>
                </a:lnTo>
                <a:lnTo>
                  <a:pt x="1944911" y="1045651"/>
                </a:lnTo>
                <a:lnTo>
                  <a:pt x="0" y="104565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endParaRPr lang="en-GB" sz="2400" kern="1200"/>
          </a:p>
        </p:txBody>
      </p:sp>
    </p:spTree>
    <p:extLst>
      <p:ext uri="{BB962C8B-B14F-4D97-AF65-F5344CB8AC3E}">
        <p14:creationId xmlns:p14="http://schemas.microsoft.com/office/powerpoint/2010/main" val="2634068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build="p"/>
      <p:bldP spid="10" grpId="0" animBg="1"/>
      <p:bldP spid="12" grpId="0" animBg="1"/>
      <p:bldP spid="13" grpId="0" animBg="1"/>
      <p:bldP spid="15" grpId="0" animBg="1"/>
      <p:bldP spid="1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Where is the capacity needed?</a:t>
            </a:r>
            <a:endParaRPr lang="en-GB" dirty="0"/>
          </a:p>
        </p:txBody>
      </p:sp>
      <p:sp>
        <p:nvSpPr>
          <p:cNvPr id="7" name="Text Placeholder 6"/>
          <p:cNvSpPr>
            <a:spLocks noGrp="1"/>
          </p:cNvSpPr>
          <p:nvPr>
            <p:ph type="body" sz="quarter" idx="16"/>
          </p:nvPr>
        </p:nvSpPr>
        <p:spPr/>
        <p:txBody>
          <a:bodyPr/>
          <a:lstStyle/>
          <a:p>
            <a:r>
              <a:rPr lang="en-GB" dirty="0" smtClean="0"/>
              <a:t>Source: Willis Towers Watson Global Pension Asset Survey 2016</a:t>
            </a:r>
            <a:endParaRPr lang="en-GB" dirty="0"/>
          </a:p>
        </p:txBody>
      </p:sp>
      <p:sp>
        <p:nvSpPr>
          <p:cNvPr id="6" name="Text Placeholder 5"/>
          <p:cNvSpPr>
            <a:spLocks noGrp="1"/>
          </p:cNvSpPr>
          <p:nvPr>
            <p:ph type="body" sz="quarter" idx="15"/>
          </p:nvPr>
        </p:nvSpPr>
        <p:spPr/>
        <p:txBody>
          <a:bodyPr/>
          <a:lstStyle/>
          <a:p>
            <a:r>
              <a:rPr lang="en-GB" dirty="0" smtClean="0"/>
              <a:t>Global appetite requires a global reach</a:t>
            </a:r>
            <a:endParaRPr lang="en-GB"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762" y="2481700"/>
            <a:ext cx="6234609" cy="3142147"/>
          </a:xfrm>
          <a:prstGeom prst="rect">
            <a:avLst/>
          </a:prstGeom>
        </p:spPr>
      </p:pic>
      <p:grpSp>
        <p:nvGrpSpPr>
          <p:cNvPr id="28" name="Group 27"/>
          <p:cNvGrpSpPr/>
          <p:nvPr/>
        </p:nvGrpSpPr>
        <p:grpSpPr>
          <a:xfrm>
            <a:off x="5786738" y="3376851"/>
            <a:ext cx="998588" cy="633186"/>
            <a:chOff x="5786738" y="3376851"/>
            <a:chExt cx="998588" cy="633186"/>
          </a:xfrm>
        </p:grpSpPr>
        <p:cxnSp>
          <p:nvCxnSpPr>
            <p:cNvPr id="12" name="Straight Arrow Connector 11"/>
            <p:cNvCxnSpPr/>
            <p:nvPr/>
          </p:nvCxnSpPr>
          <p:spPr>
            <a:xfrm flipV="1">
              <a:off x="6286031" y="3376851"/>
              <a:ext cx="1" cy="263751"/>
            </a:xfrm>
            <a:prstGeom prst="straightConnector1">
              <a:avLst/>
            </a:prstGeom>
            <a:ln>
              <a:solidFill>
                <a:schemeClr val="accent3">
                  <a:lumMod val="75000"/>
                </a:schemeClr>
              </a:solidFill>
              <a:headEnd type="arrow"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786738" y="3655350"/>
              <a:ext cx="998588" cy="354687"/>
            </a:xfrm>
            <a:prstGeom prst="rect">
              <a:avLst/>
            </a:prstGeom>
            <a:ln/>
          </p:spPr>
          <p:style>
            <a:lnRef idx="3">
              <a:schemeClr val="lt1"/>
            </a:lnRef>
            <a:fillRef idx="1">
              <a:schemeClr val="accent3"/>
            </a:fillRef>
            <a:effectRef idx="1">
              <a:schemeClr val="accent3"/>
            </a:effectRef>
            <a:fontRef idx="minor">
              <a:schemeClr val="lt1"/>
            </a:fontRef>
          </p:style>
          <p:txBody>
            <a:bodyPr rtlCol="0" anchor="t"/>
            <a:lstStyle/>
            <a:p>
              <a:pPr algn="ctr"/>
              <a:r>
                <a:rPr lang="en-GB" sz="1400" dirty="0" smtClean="0">
                  <a:solidFill>
                    <a:schemeClr val="bg1"/>
                  </a:solidFill>
                </a:rPr>
                <a:t>$2.7trillion</a:t>
              </a:r>
              <a:endParaRPr lang="en-US" sz="1400" dirty="0">
                <a:solidFill>
                  <a:schemeClr val="bg1"/>
                </a:solidFill>
              </a:endParaRPr>
            </a:p>
          </p:txBody>
        </p:sp>
      </p:grpSp>
      <p:cxnSp>
        <p:nvCxnSpPr>
          <p:cNvPr id="14" name="Straight Arrow Connector 13"/>
          <p:cNvCxnSpPr/>
          <p:nvPr/>
        </p:nvCxnSpPr>
        <p:spPr>
          <a:xfrm>
            <a:off x="1946582" y="3306242"/>
            <a:ext cx="407238" cy="0"/>
          </a:xfrm>
          <a:prstGeom prst="straightConnector1">
            <a:avLst/>
          </a:prstGeom>
          <a:ln>
            <a:solidFill>
              <a:schemeClr val="accent3">
                <a:lumMod val="75000"/>
              </a:schemeClr>
            </a:solidFill>
            <a:headEnd type="arrow"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923763" y="3128898"/>
            <a:ext cx="998588" cy="354687"/>
          </a:xfrm>
          <a:prstGeom prst="rect">
            <a:avLst/>
          </a:prstGeom>
          <a:ln/>
        </p:spPr>
        <p:style>
          <a:lnRef idx="3">
            <a:schemeClr val="lt1"/>
          </a:lnRef>
          <a:fillRef idx="1">
            <a:schemeClr val="accent3"/>
          </a:fillRef>
          <a:effectRef idx="1">
            <a:schemeClr val="accent3"/>
          </a:effectRef>
          <a:fontRef idx="minor">
            <a:schemeClr val="lt1"/>
          </a:fontRef>
        </p:style>
        <p:txBody>
          <a:bodyPr rtlCol="0" anchor="t"/>
          <a:lstStyle/>
          <a:p>
            <a:pPr algn="ctr"/>
            <a:r>
              <a:rPr lang="en-GB" sz="1400" dirty="0" smtClean="0">
                <a:solidFill>
                  <a:schemeClr val="bg1"/>
                </a:solidFill>
              </a:rPr>
              <a:t>$28trillion</a:t>
            </a:r>
            <a:endParaRPr lang="en-US" sz="1400" dirty="0">
              <a:solidFill>
                <a:schemeClr val="bg1"/>
              </a:solidFill>
            </a:endParaRPr>
          </a:p>
        </p:txBody>
      </p:sp>
      <p:grpSp>
        <p:nvGrpSpPr>
          <p:cNvPr id="31" name="Group 30"/>
          <p:cNvGrpSpPr/>
          <p:nvPr/>
        </p:nvGrpSpPr>
        <p:grpSpPr>
          <a:xfrm>
            <a:off x="2048599" y="2715191"/>
            <a:ext cx="4064526" cy="2080521"/>
            <a:chOff x="2048599" y="2715191"/>
            <a:chExt cx="4064526" cy="2080521"/>
          </a:xfrm>
        </p:grpSpPr>
        <p:cxnSp>
          <p:nvCxnSpPr>
            <p:cNvPr id="16" name="Straight Arrow Connector 15"/>
            <p:cNvCxnSpPr/>
            <p:nvPr/>
          </p:nvCxnSpPr>
          <p:spPr>
            <a:xfrm flipH="1">
              <a:off x="2048599" y="2934046"/>
              <a:ext cx="397085" cy="5599"/>
            </a:xfrm>
            <a:prstGeom prst="straightConnector1">
              <a:avLst/>
            </a:prstGeom>
            <a:ln>
              <a:solidFill>
                <a:schemeClr val="accent3">
                  <a:lumMod val="75000"/>
                </a:schemeClr>
              </a:solidFill>
              <a:headEnd type="arrow"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484528" y="2715191"/>
              <a:ext cx="998589" cy="354687"/>
            </a:xfrm>
            <a:prstGeom prst="rect">
              <a:avLst/>
            </a:prstGeom>
            <a:ln/>
          </p:spPr>
          <p:style>
            <a:lnRef idx="3">
              <a:schemeClr val="lt1"/>
            </a:lnRef>
            <a:fillRef idx="1">
              <a:schemeClr val="accent3"/>
            </a:fillRef>
            <a:effectRef idx="1">
              <a:schemeClr val="accent3"/>
            </a:effectRef>
            <a:fontRef idx="minor">
              <a:schemeClr val="lt1"/>
            </a:fontRef>
          </p:style>
          <p:txBody>
            <a:bodyPr rtlCol="0" anchor="t"/>
            <a:lstStyle/>
            <a:p>
              <a:pPr algn="ctr"/>
              <a:r>
                <a:rPr lang="en-GB" sz="1400" dirty="0" smtClean="0">
                  <a:solidFill>
                    <a:schemeClr val="bg1"/>
                  </a:solidFill>
                </a:rPr>
                <a:t>$1.5trillion</a:t>
              </a:r>
              <a:endParaRPr lang="en-US" sz="1400" dirty="0">
                <a:solidFill>
                  <a:schemeClr val="bg1"/>
                </a:solidFill>
              </a:endParaRPr>
            </a:p>
          </p:txBody>
        </p:sp>
        <p:cxnSp>
          <p:nvCxnSpPr>
            <p:cNvPr id="24" name="Straight Arrow Connector 23"/>
            <p:cNvCxnSpPr/>
            <p:nvPr/>
          </p:nvCxnSpPr>
          <p:spPr>
            <a:xfrm>
              <a:off x="5606585" y="4602822"/>
              <a:ext cx="506540" cy="0"/>
            </a:xfrm>
            <a:prstGeom prst="straightConnector1">
              <a:avLst/>
            </a:prstGeom>
            <a:ln>
              <a:solidFill>
                <a:schemeClr val="accent3">
                  <a:lumMod val="75000"/>
                </a:schemeClr>
              </a:solidFill>
              <a:headEnd type="arrow" w="med" len="med"/>
              <a:tailEnd type="oval"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590554" y="4441025"/>
              <a:ext cx="998588" cy="354687"/>
            </a:xfrm>
            <a:prstGeom prst="rect">
              <a:avLst/>
            </a:prstGeom>
            <a:ln/>
          </p:spPr>
          <p:style>
            <a:lnRef idx="3">
              <a:schemeClr val="lt1"/>
            </a:lnRef>
            <a:fillRef idx="1">
              <a:schemeClr val="accent3"/>
            </a:fillRef>
            <a:effectRef idx="1">
              <a:schemeClr val="accent3"/>
            </a:effectRef>
            <a:fontRef idx="minor">
              <a:schemeClr val="lt1"/>
            </a:fontRef>
          </p:style>
          <p:txBody>
            <a:bodyPr rtlCol="0" anchor="t"/>
            <a:lstStyle/>
            <a:p>
              <a:pPr algn="ctr"/>
              <a:r>
                <a:rPr lang="en-GB" sz="1400" dirty="0" smtClean="0">
                  <a:solidFill>
                    <a:schemeClr val="bg1"/>
                  </a:solidFill>
                </a:rPr>
                <a:t>$1.5trillion</a:t>
              </a:r>
              <a:endParaRPr lang="en-US" sz="1400" dirty="0">
                <a:solidFill>
                  <a:schemeClr val="bg1"/>
                </a:solidFill>
              </a:endParaRPr>
            </a:p>
          </p:txBody>
        </p:sp>
      </p:grpSp>
      <p:grpSp>
        <p:nvGrpSpPr>
          <p:cNvPr id="27" name="Group 26"/>
          <p:cNvGrpSpPr/>
          <p:nvPr/>
        </p:nvGrpSpPr>
        <p:grpSpPr>
          <a:xfrm>
            <a:off x="3355250" y="3151540"/>
            <a:ext cx="998588" cy="667839"/>
            <a:chOff x="3355250" y="3151540"/>
            <a:chExt cx="998588" cy="667839"/>
          </a:xfrm>
        </p:grpSpPr>
        <p:cxnSp>
          <p:nvCxnSpPr>
            <p:cNvPr id="10" name="Straight Arrow Connector 9"/>
            <p:cNvCxnSpPr/>
            <p:nvPr/>
          </p:nvCxnSpPr>
          <p:spPr>
            <a:xfrm flipV="1">
              <a:off x="3854544" y="3151540"/>
              <a:ext cx="1" cy="285331"/>
            </a:xfrm>
            <a:prstGeom prst="straightConnector1">
              <a:avLst/>
            </a:prstGeom>
            <a:ln>
              <a:solidFill>
                <a:schemeClr val="accent3">
                  <a:lumMod val="75000"/>
                </a:schemeClr>
              </a:solidFill>
              <a:headEnd type="arrow"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355250" y="3464692"/>
              <a:ext cx="998588" cy="354687"/>
            </a:xfrm>
            <a:prstGeom prst="rect">
              <a:avLst/>
            </a:prstGeom>
            <a:ln/>
          </p:spPr>
          <p:style>
            <a:lnRef idx="3">
              <a:schemeClr val="lt1"/>
            </a:lnRef>
            <a:fillRef idx="1">
              <a:schemeClr val="accent3"/>
            </a:fillRef>
            <a:effectRef idx="1">
              <a:schemeClr val="accent3"/>
            </a:effectRef>
            <a:fontRef idx="minor">
              <a:schemeClr val="lt1"/>
            </a:fontRef>
          </p:style>
          <p:txBody>
            <a:bodyPr rtlCol="0" anchor="t"/>
            <a:lstStyle/>
            <a:p>
              <a:pPr algn="ctr"/>
              <a:r>
                <a:rPr lang="en-GB" sz="1400" dirty="0" smtClean="0">
                  <a:solidFill>
                    <a:schemeClr val="bg1"/>
                  </a:solidFill>
                </a:rPr>
                <a:t>$3.2trillion</a:t>
              </a:r>
              <a:endParaRPr lang="en-US" sz="1400" dirty="0">
                <a:solidFill>
                  <a:schemeClr val="bg1"/>
                </a:solidFill>
              </a:endParaRPr>
            </a:p>
          </p:txBody>
        </p:sp>
      </p:grpSp>
      <p:grpSp>
        <p:nvGrpSpPr>
          <p:cNvPr id="36" name="Group 35"/>
          <p:cNvGrpSpPr/>
          <p:nvPr/>
        </p:nvGrpSpPr>
        <p:grpSpPr>
          <a:xfrm>
            <a:off x="3987844" y="2951555"/>
            <a:ext cx="1518614" cy="354687"/>
            <a:chOff x="3987844" y="2951555"/>
            <a:chExt cx="1518614" cy="354687"/>
          </a:xfrm>
        </p:grpSpPr>
        <p:cxnSp>
          <p:nvCxnSpPr>
            <p:cNvPr id="29" name="Straight Arrow Connector 28"/>
            <p:cNvCxnSpPr/>
            <p:nvPr/>
          </p:nvCxnSpPr>
          <p:spPr>
            <a:xfrm flipH="1" flipV="1">
              <a:off x="3987844" y="3151539"/>
              <a:ext cx="481182" cy="2"/>
            </a:xfrm>
            <a:prstGeom prst="straightConnector1">
              <a:avLst/>
            </a:prstGeom>
            <a:ln>
              <a:solidFill>
                <a:schemeClr val="accent3">
                  <a:lumMod val="75000"/>
                </a:schemeClr>
              </a:solidFill>
              <a:headEnd type="arrow"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4507870" y="2951555"/>
              <a:ext cx="998588" cy="354687"/>
            </a:xfrm>
            <a:prstGeom prst="rect">
              <a:avLst/>
            </a:prstGeom>
            <a:ln/>
          </p:spPr>
          <p:style>
            <a:lnRef idx="3">
              <a:schemeClr val="lt1"/>
            </a:lnRef>
            <a:fillRef idx="1">
              <a:schemeClr val="accent3"/>
            </a:fillRef>
            <a:effectRef idx="1">
              <a:schemeClr val="accent3"/>
            </a:effectRef>
            <a:fontRef idx="minor">
              <a:schemeClr val="lt1"/>
            </a:fontRef>
          </p:style>
          <p:txBody>
            <a:bodyPr rtlCol="0" anchor="t"/>
            <a:lstStyle/>
            <a:p>
              <a:pPr algn="ctr"/>
              <a:r>
                <a:rPr lang="en-GB" sz="1400" dirty="0" smtClean="0">
                  <a:solidFill>
                    <a:schemeClr val="bg1"/>
                  </a:solidFill>
                </a:rPr>
                <a:t>$1.4trillion</a:t>
              </a:r>
              <a:endParaRPr lang="en-US" sz="1400" dirty="0">
                <a:solidFill>
                  <a:schemeClr val="bg1"/>
                </a:solidFill>
              </a:endParaRPr>
            </a:p>
          </p:txBody>
        </p:sp>
      </p:grpSp>
      <p:grpSp>
        <p:nvGrpSpPr>
          <p:cNvPr id="32" name="Group 31"/>
          <p:cNvGrpSpPr/>
          <p:nvPr/>
        </p:nvGrpSpPr>
        <p:grpSpPr>
          <a:xfrm>
            <a:off x="7158371" y="2715191"/>
            <a:ext cx="4420524" cy="3775261"/>
            <a:chOff x="1729905" y="2124489"/>
            <a:chExt cx="2799990" cy="3055108"/>
          </a:xfrm>
        </p:grpSpPr>
        <p:sp>
          <p:nvSpPr>
            <p:cNvPr id="33" name="Rectangle 32"/>
            <p:cNvSpPr/>
            <p:nvPr/>
          </p:nvSpPr>
          <p:spPr bwMode="gray">
            <a:xfrm>
              <a:off x="1729906" y="2583517"/>
              <a:ext cx="2799989" cy="15838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4" name="Text Placeholder 4"/>
            <p:cNvSpPr txBox="1">
              <a:spLocks/>
            </p:cNvSpPr>
            <p:nvPr/>
          </p:nvSpPr>
          <p:spPr bwMode="gray">
            <a:xfrm>
              <a:off x="1729906" y="2124489"/>
              <a:ext cx="2799989" cy="547594"/>
            </a:xfrm>
            <a:prstGeom prst="bracketPair">
              <a:avLst>
                <a:gd name="adj" fmla="val 0"/>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r>
                <a:rPr lang="en-US" sz="1800" dirty="0" smtClean="0"/>
                <a:t>Over $35trillion of pensions assets globally exposed to longevity risk</a:t>
              </a:r>
              <a:endParaRPr lang="en-US" sz="1800" dirty="0"/>
            </a:p>
          </p:txBody>
        </p:sp>
        <p:sp>
          <p:nvSpPr>
            <p:cNvPr id="35" name="Content Placeholder 9"/>
            <p:cNvSpPr txBox="1">
              <a:spLocks/>
            </p:cNvSpPr>
            <p:nvPr/>
          </p:nvSpPr>
          <p:spPr>
            <a:xfrm>
              <a:off x="1729905" y="2708504"/>
              <a:ext cx="2799989" cy="2471093"/>
            </a:xfrm>
            <a:prstGeom prst="rect">
              <a:avLst/>
            </a:prstGeom>
          </p:spPr>
          <p:txBody>
            <a:bodyPr/>
            <a:lstStyle>
              <a:lvl1pPr marL="292608" indent="-292608" algn="l" defTabSz="914400" rtl="0" eaLnBrk="1" latinLnBrk="0" hangingPunct="1">
                <a:lnSpc>
                  <a:spcPct val="90000"/>
                </a:lnSpc>
                <a:spcBef>
                  <a:spcPts val="2000"/>
                </a:spcBef>
                <a:buClr>
                  <a:schemeClr val="accent1"/>
                </a:buClr>
                <a:buSzPct val="100000"/>
                <a:buFont typeface="Wingdings" panose="05000000000000000000" pitchFamily="2" charset="2"/>
                <a:buChar char="§"/>
                <a:defRPr sz="24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chemeClr val="accent1"/>
                </a:buClr>
                <a:buSzPct val="110000"/>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chemeClr val="accent1"/>
                </a:buClr>
                <a:buFont typeface="Courier New" panose="02070309020205020404" pitchFamily="49" charset="0"/>
                <a:buChar char="o"/>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chemeClr val="accent1"/>
                </a:buClr>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900"/>
                </a:spcBef>
              </a:pPr>
              <a:r>
                <a:rPr lang="en-GB" sz="1600" dirty="0" smtClean="0"/>
                <a:t>Longevity capacity needs to be deployed globally</a:t>
              </a:r>
            </a:p>
            <a:p>
              <a:pPr>
                <a:spcBef>
                  <a:spcPts val="900"/>
                </a:spcBef>
              </a:pPr>
              <a:r>
                <a:rPr lang="en-GB" sz="1600" dirty="0"/>
                <a:t>Reinsurers </a:t>
              </a:r>
              <a:r>
                <a:rPr lang="en-GB" sz="1600" dirty="0" smtClean="0"/>
                <a:t>can access different markets to a limit extent</a:t>
              </a:r>
            </a:p>
            <a:p>
              <a:pPr>
                <a:spcBef>
                  <a:spcPts val="900"/>
                </a:spcBef>
              </a:pPr>
              <a:r>
                <a:rPr lang="en-GB" sz="1600" dirty="0" smtClean="0"/>
                <a:t>Capital markets may have an opportunity to work globally</a:t>
              </a:r>
              <a:endParaRPr lang="en-US" sz="1600" dirty="0"/>
            </a:p>
          </p:txBody>
        </p:sp>
      </p:grpSp>
    </p:spTree>
    <p:extLst>
      <p:ext uri="{BB962C8B-B14F-4D97-AF65-F5344CB8AC3E}">
        <p14:creationId xmlns:p14="http://schemas.microsoft.com/office/powerpoint/2010/main" val="2543483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build="p"/>
      <p:bldP spid="6" grpId="0" build="p"/>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ipping point</a:t>
            </a:r>
            <a:endParaRPr lang="en-GB" dirty="0"/>
          </a:p>
        </p:txBody>
      </p:sp>
      <p:sp>
        <p:nvSpPr>
          <p:cNvPr id="5" name="Text Placeholder 4"/>
          <p:cNvSpPr>
            <a:spLocks noGrp="1"/>
          </p:cNvSpPr>
          <p:nvPr>
            <p:ph type="body" sz="quarter" idx="15"/>
          </p:nvPr>
        </p:nvSpPr>
        <p:spPr/>
        <p:txBody>
          <a:bodyPr/>
          <a:lstStyle/>
          <a:p>
            <a:r>
              <a:rPr lang="en-GB" dirty="0" smtClean="0"/>
              <a:t>What will upset the balance?</a:t>
            </a:r>
            <a:endParaRPr lang="en-GB" dirty="0"/>
          </a:p>
        </p:txBody>
      </p:sp>
      <p:grpSp>
        <p:nvGrpSpPr>
          <p:cNvPr id="3" name="Group 2"/>
          <p:cNvGrpSpPr/>
          <p:nvPr/>
        </p:nvGrpSpPr>
        <p:grpSpPr>
          <a:xfrm>
            <a:off x="2964529" y="1911272"/>
            <a:ext cx="5403996" cy="3544600"/>
            <a:chOff x="6012985" y="2147861"/>
            <a:chExt cx="5403996" cy="3544600"/>
          </a:xfrm>
        </p:grpSpPr>
        <p:sp>
          <p:nvSpPr>
            <p:cNvPr id="8" name="Minus 7"/>
            <p:cNvSpPr/>
            <p:nvPr/>
          </p:nvSpPr>
          <p:spPr>
            <a:xfrm rot="20780762">
              <a:off x="6012985" y="3649041"/>
              <a:ext cx="5384063" cy="616556"/>
            </a:xfrm>
            <a:prstGeom prst="mathMinus">
              <a:avLst/>
            </a:prstGeom>
            <a:solidFill>
              <a:schemeClr val="accent2"/>
            </a:solidFill>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
          <p:nvSpPr>
            <p:cNvPr id="12" name="Down Arrow 11"/>
            <p:cNvSpPr/>
            <p:nvPr/>
          </p:nvSpPr>
          <p:spPr>
            <a:xfrm>
              <a:off x="6513971" y="2325091"/>
              <a:ext cx="1625193" cy="1417840"/>
            </a:xfrm>
            <a:prstGeom prst="downArrow">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Freeform 12"/>
            <p:cNvSpPr/>
            <p:nvPr/>
          </p:nvSpPr>
          <p:spPr>
            <a:xfrm>
              <a:off x="8735069" y="2147861"/>
              <a:ext cx="1733539" cy="1488732"/>
            </a:xfrm>
            <a:custGeom>
              <a:avLst/>
              <a:gdLst>
                <a:gd name="connsiteX0" fmla="*/ 0 w 1733539"/>
                <a:gd name="connsiteY0" fmla="*/ 0 h 1488732"/>
                <a:gd name="connsiteX1" fmla="*/ 1733539 w 1733539"/>
                <a:gd name="connsiteY1" fmla="*/ 0 h 1488732"/>
                <a:gd name="connsiteX2" fmla="*/ 1733539 w 1733539"/>
                <a:gd name="connsiteY2" fmla="*/ 1488732 h 1488732"/>
                <a:gd name="connsiteX3" fmla="*/ 0 w 1733539"/>
                <a:gd name="connsiteY3" fmla="*/ 1488732 h 1488732"/>
                <a:gd name="connsiteX4" fmla="*/ 0 w 1733539"/>
                <a:gd name="connsiteY4" fmla="*/ 0 h 1488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3539" h="1488732">
                  <a:moveTo>
                    <a:pt x="0" y="0"/>
                  </a:moveTo>
                  <a:lnTo>
                    <a:pt x="1733539" y="0"/>
                  </a:lnTo>
                  <a:lnTo>
                    <a:pt x="1733539" y="1488732"/>
                  </a:lnTo>
                  <a:lnTo>
                    <a:pt x="0" y="14887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en-GB" sz="2200" kern="1200" dirty="0" smtClean="0"/>
                <a:t>Capacity</a:t>
              </a:r>
              <a:endParaRPr lang="en-GB" sz="2200" kern="1200" dirty="0"/>
            </a:p>
          </p:txBody>
        </p:sp>
        <p:sp>
          <p:nvSpPr>
            <p:cNvPr id="14" name="Up Arrow 13"/>
            <p:cNvSpPr/>
            <p:nvPr/>
          </p:nvSpPr>
          <p:spPr>
            <a:xfrm>
              <a:off x="9005934" y="4097391"/>
              <a:ext cx="1625193" cy="1417840"/>
            </a:xfrm>
            <a:prstGeom prst="upArrow">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reeform 14"/>
            <p:cNvSpPr/>
            <p:nvPr/>
          </p:nvSpPr>
          <p:spPr>
            <a:xfrm>
              <a:off x="6676490" y="4203729"/>
              <a:ext cx="1733539" cy="1488732"/>
            </a:xfrm>
            <a:custGeom>
              <a:avLst/>
              <a:gdLst>
                <a:gd name="connsiteX0" fmla="*/ 0 w 1733539"/>
                <a:gd name="connsiteY0" fmla="*/ 0 h 1488732"/>
                <a:gd name="connsiteX1" fmla="*/ 1733539 w 1733539"/>
                <a:gd name="connsiteY1" fmla="*/ 0 h 1488732"/>
                <a:gd name="connsiteX2" fmla="*/ 1733539 w 1733539"/>
                <a:gd name="connsiteY2" fmla="*/ 1488732 h 1488732"/>
                <a:gd name="connsiteX3" fmla="*/ 0 w 1733539"/>
                <a:gd name="connsiteY3" fmla="*/ 1488732 h 1488732"/>
                <a:gd name="connsiteX4" fmla="*/ 0 w 1733539"/>
                <a:gd name="connsiteY4" fmla="*/ 0 h 1488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3539" h="1488732">
                  <a:moveTo>
                    <a:pt x="0" y="0"/>
                  </a:moveTo>
                  <a:lnTo>
                    <a:pt x="1733539" y="0"/>
                  </a:lnTo>
                  <a:lnTo>
                    <a:pt x="1733539" y="1488732"/>
                  </a:lnTo>
                  <a:lnTo>
                    <a:pt x="0" y="14887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en-GB" sz="2200" kern="1200" dirty="0" smtClean="0"/>
                <a:t>Market acceptable price</a:t>
              </a:r>
              <a:endParaRPr lang="en-GB" sz="2200" kern="1200" dirty="0"/>
            </a:p>
          </p:txBody>
        </p:sp>
        <p:sp>
          <p:nvSpPr>
            <p:cNvPr id="16" name="Rectangle 15"/>
            <p:cNvSpPr/>
            <p:nvPr/>
          </p:nvSpPr>
          <p:spPr>
            <a:xfrm>
              <a:off x="8880605" y="4948095"/>
              <a:ext cx="1875850" cy="293762"/>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1400" dirty="0" smtClean="0">
                  <a:solidFill>
                    <a:schemeClr val="tx1"/>
                  </a:solidFill>
                </a:rPr>
                <a:t>Longevity market</a:t>
              </a:r>
              <a:endParaRPr lang="en-US" sz="1400" dirty="0">
                <a:solidFill>
                  <a:schemeClr val="tx1"/>
                </a:solidFill>
              </a:endParaRPr>
            </a:p>
          </p:txBody>
        </p:sp>
        <p:sp>
          <p:nvSpPr>
            <p:cNvPr id="17" name="Rectangle 16"/>
            <p:cNvSpPr/>
            <p:nvPr/>
          </p:nvSpPr>
          <p:spPr>
            <a:xfrm>
              <a:off x="6388642" y="2576384"/>
              <a:ext cx="1875850" cy="293762"/>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1400" dirty="0" smtClean="0">
                  <a:solidFill>
                    <a:schemeClr val="tx1"/>
                  </a:solidFill>
                </a:rPr>
                <a:t>Mortality market</a:t>
              </a:r>
              <a:endParaRPr lang="en-US" sz="1400" dirty="0">
                <a:solidFill>
                  <a:schemeClr val="tx1"/>
                </a:solidFill>
              </a:endParaRPr>
            </a:p>
          </p:txBody>
        </p:sp>
        <p:sp>
          <p:nvSpPr>
            <p:cNvPr id="19" name="Minus 18"/>
            <p:cNvSpPr/>
            <p:nvPr/>
          </p:nvSpPr>
          <p:spPr>
            <a:xfrm rot="21300000">
              <a:off x="6032918" y="3764283"/>
              <a:ext cx="5384063" cy="616556"/>
            </a:xfrm>
            <a:prstGeom prst="mathMinus">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grpSp>
      <p:sp>
        <p:nvSpPr>
          <p:cNvPr id="6" name="Text Placeholder 5"/>
          <p:cNvSpPr>
            <a:spLocks noGrp="1"/>
          </p:cNvSpPr>
          <p:nvPr>
            <p:ph type="body" sz="quarter" idx="16"/>
          </p:nvPr>
        </p:nvSpPr>
        <p:spPr/>
        <p:txBody>
          <a:bodyPr/>
          <a:lstStyle/>
          <a:p>
            <a:endParaRPr lang="en-GB"/>
          </a:p>
        </p:txBody>
      </p:sp>
    </p:spTree>
    <p:extLst>
      <p:ext uri="{BB962C8B-B14F-4D97-AF65-F5344CB8AC3E}">
        <p14:creationId xmlns:p14="http://schemas.microsoft.com/office/powerpoint/2010/main" val="7009013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ill the market bear the increased cost?</a:t>
            </a:r>
            <a:endParaRPr lang="en-GB" dirty="0"/>
          </a:p>
        </p:txBody>
      </p:sp>
      <p:sp>
        <p:nvSpPr>
          <p:cNvPr id="4" name="Text Placeholder 3"/>
          <p:cNvSpPr>
            <a:spLocks noGrp="1"/>
          </p:cNvSpPr>
          <p:nvPr>
            <p:ph type="body" sz="quarter" idx="16"/>
          </p:nvPr>
        </p:nvSpPr>
        <p:spPr/>
        <p:txBody>
          <a:bodyPr/>
          <a:lstStyle/>
          <a:p>
            <a:endParaRPr lang="en-GB" dirty="0"/>
          </a:p>
        </p:txBody>
      </p:sp>
      <p:sp>
        <p:nvSpPr>
          <p:cNvPr id="5" name="Text Placeholder 4"/>
          <p:cNvSpPr>
            <a:spLocks noGrp="1"/>
          </p:cNvSpPr>
          <p:nvPr>
            <p:ph type="body" sz="quarter" idx="15"/>
          </p:nvPr>
        </p:nvSpPr>
        <p:spPr/>
        <p:txBody>
          <a:bodyPr/>
          <a:lstStyle/>
          <a:p>
            <a:endParaRPr lang="en-GB"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426616630"/>
              </p:ext>
            </p:extLst>
          </p:nvPr>
        </p:nvGraphicFramePr>
        <p:xfrm>
          <a:off x="892175" y="1752600"/>
          <a:ext cx="5096501" cy="4171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Block Arc 9"/>
          <p:cNvSpPr/>
          <p:nvPr/>
        </p:nvSpPr>
        <p:spPr>
          <a:xfrm rot="10800000">
            <a:off x="10357364" y="1015865"/>
            <a:ext cx="5617900" cy="5617900"/>
          </a:xfrm>
          <a:prstGeom prst="blockArc">
            <a:avLst>
              <a:gd name="adj1" fmla="val 18900000"/>
              <a:gd name="adj2" fmla="val 2700000"/>
              <a:gd name="adj3" fmla="val 384"/>
            </a:avLst>
          </a:prstGeom>
          <a:ln>
            <a:solidFill>
              <a:schemeClr val="accent2"/>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1" name="Freeform 10"/>
          <p:cNvSpPr/>
          <p:nvPr/>
        </p:nvSpPr>
        <p:spPr>
          <a:xfrm>
            <a:off x="6210610" y="2156037"/>
            <a:ext cx="4145166" cy="834390"/>
          </a:xfrm>
          <a:custGeom>
            <a:avLst/>
            <a:gdLst>
              <a:gd name="connsiteX0" fmla="*/ 0 w 4513522"/>
              <a:gd name="connsiteY0" fmla="*/ 0 h 834390"/>
              <a:gd name="connsiteX1" fmla="*/ 4513522 w 4513522"/>
              <a:gd name="connsiteY1" fmla="*/ 0 h 834390"/>
              <a:gd name="connsiteX2" fmla="*/ 4513522 w 4513522"/>
              <a:gd name="connsiteY2" fmla="*/ 834390 h 834390"/>
              <a:gd name="connsiteX3" fmla="*/ 0 w 4513522"/>
              <a:gd name="connsiteY3" fmla="*/ 834390 h 834390"/>
              <a:gd name="connsiteX4" fmla="*/ 0 w 4513522"/>
              <a:gd name="connsiteY4" fmla="*/ 0 h 83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3522" h="834390">
                <a:moveTo>
                  <a:pt x="0" y="0"/>
                </a:moveTo>
                <a:lnTo>
                  <a:pt x="4513522" y="0"/>
                </a:lnTo>
                <a:lnTo>
                  <a:pt x="4513522" y="834390"/>
                </a:lnTo>
                <a:lnTo>
                  <a:pt x="0" y="834390"/>
                </a:lnTo>
                <a:lnTo>
                  <a:pt x="0" y="0"/>
                </a:lnTo>
                <a:close/>
              </a:path>
            </a:pathLst>
          </a:custGeom>
        </p:spPr>
        <p:style>
          <a:lnRef idx="3">
            <a:schemeClr val="lt1"/>
          </a:lnRef>
          <a:fillRef idx="1">
            <a:schemeClr val="accent2"/>
          </a:fillRef>
          <a:effectRef idx="1">
            <a:schemeClr val="accent2"/>
          </a:effectRef>
          <a:fontRef idx="minor">
            <a:schemeClr val="lt1"/>
          </a:fontRef>
        </p:style>
        <p:txBody>
          <a:bodyPr spcFirstLastPara="0" vert="horz" wrap="square" lIns="144000" tIns="114300" rIns="114300" bIns="114300" numCol="1" spcCol="1270" anchor="ctr" anchorCtr="0">
            <a:noAutofit/>
          </a:bodyPr>
          <a:lstStyle/>
          <a:p>
            <a:pPr lvl="0" algn="l" defTabSz="2000250">
              <a:lnSpc>
                <a:spcPct val="90000"/>
              </a:lnSpc>
              <a:spcBef>
                <a:spcPct val="0"/>
              </a:spcBef>
              <a:spcAft>
                <a:spcPct val="35000"/>
              </a:spcAft>
            </a:pPr>
            <a:r>
              <a:rPr lang="en-GB" sz="3600" dirty="0" smtClean="0"/>
              <a:t>Brexit</a:t>
            </a:r>
            <a:endParaRPr lang="en-US" sz="3600" kern="1200" dirty="0"/>
          </a:p>
        </p:txBody>
      </p:sp>
      <p:sp>
        <p:nvSpPr>
          <p:cNvPr id="13" name="Freeform 12"/>
          <p:cNvSpPr/>
          <p:nvPr/>
        </p:nvSpPr>
        <p:spPr>
          <a:xfrm>
            <a:off x="6210609" y="3407622"/>
            <a:ext cx="3841866" cy="834390"/>
          </a:xfrm>
          <a:custGeom>
            <a:avLst/>
            <a:gdLst>
              <a:gd name="connsiteX0" fmla="*/ 0 w 4210221"/>
              <a:gd name="connsiteY0" fmla="*/ 0 h 834390"/>
              <a:gd name="connsiteX1" fmla="*/ 4210221 w 4210221"/>
              <a:gd name="connsiteY1" fmla="*/ 0 h 834390"/>
              <a:gd name="connsiteX2" fmla="*/ 4210221 w 4210221"/>
              <a:gd name="connsiteY2" fmla="*/ 834390 h 834390"/>
              <a:gd name="connsiteX3" fmla="*/ 0 w 4210221"/>
              <a:gd name="connsiteY3" fmla="*/ 834390 h 834390"/>
              <a:gd name="connsiteX4" fmla="*/ 0 w 4210221"/>
              <a:gd name="connsiteY4" fmla="*/ 0 h 83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221" h="834390">
                <a:moveTo>
                  <a:pt x="0" y="0"/>
                </a:moveTo>
                <a:lnTo>
                  <a:pt x="4210221" y="0"/>
                </a:lnTo>
                <a:lnTo>
                  <a:pt x="4210221" y="834390"/>
                </a:lnTo>
                <a:lnTo>
                  <a:pt x="0" y="834390"/>
                </a:lnTo>
                <a:lnTo>
                  <a:pt x="0" y="0"/>
                </a:lnTo>
                <a:close/>
              </a:path>
            </a:pathLst>
          </a:custGeom>
        </p:spPr>
        <p:style>
          <a:lnRef idx="3">
            <a:schemeClr val="lt1"/>
          </a:lnRef>
          <a:fillRef idx="1">
            <a:schemeClr val="accent2"/>
          </a:fillRef>
          <a:effectRef idx="1">
            <a:schemeClr val="accent2"/>
          </a:effectRef>
          <a:fontRef idx="minor">
            <a:schemeClr val="lt1"/>
          </a:fontRef>
        </p:style>
        <p:txBody>
          <a:bodyPr spcFirstLastPara="0" vert="horz" wrap="square" lIns="144000" tIns="114300" rIns="114300" bIns="114300" numCol="1" spcCol="1270" anchor="ctr" anchorCtr="0">
            <a:noAutofit/>
          </a:bodyPr>
          <a:lstStyle/>
          <a:p>
            <a:pPr lvl="0" algn="l" defTabSz="2000250">
              <a:lnSpc>
                <a:spcPct val="90000"/>
              </a:lnSpc>
              <a:spcBef>
                <a:spcPct val="0"/>
              </a:spcBef>
              <a:spcAft>
                <a:spcPct val="35000"/>
              </a:spcAft>
            </a:pPr>
            <a:r>
              <a:rPr lang="en-GB" sz="3600" dirty="0" smtClean="0"/>
              <a:t>Zero-</a:t>
            </a:r>
            <a:r>
              <a:rPr lang="en-GB" sz="3600" kern="1200" dirty="0" smtClean="0"/>
              <a:t>capital</a:t>
            </a:r>
            <a:endParaRPr lang="en-US" sz="3600" kern="1200" dirty="0"/>
          </a:p>
        </p:txBody>
      </p:sp>
      <p:sp>
        <p:nvSpPr>
          <p:cNvPr id="15" name="Freeform 14"/>
          <p:cNvSpPr/>
          <p:nvPr/>
        </p:nvSpPr>
        <p:spPr>
          <a:xfrm>
            <a:off x="6210610" y="4638113"/>
            <a:ext cx="4145168" cy="834390"/>
          </a:xfrm>
          <a:custGeom>
            <a:avLst/>
            <a:gdLst>
              <a:gd name="connsiteX0" fmla="*/ 0 w 4513522"/>
              <a:gd name="connsiteY0" fmla="*/ 0 h 834390"/>
              <a:gd name="connsiteX1" fmla="*/ 4513522 w 4513522"/>
              <a:gd name="connsiteY1" fmla="*/ 0 h 834390"/>
              <a:gd name="connsiteX2" fmla="*/ 4513522 w 4513522"/>
              <a:gd name="connsiteY2" fmla="*/ 834390 h 834390"/>
              <a:gd name="connsiteX3" fmla="*/ 0 w 4513522"/>
              <a:gd name="connsiteY3" fmla="*/ 834390 h 834390"/>
              <a:gd name="connsiteX4" fmla="*/ 0 w 4513522"/>
              <a:gd name="connsiteY4" fmla="*/ 0 h 83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3522" h="834390">
                <a:moveTo>
                  <a:pt x="0" y="0"/>
                </a:moveTo>
                <a:lnTo>
                  <a:pt x="4513522" y="0"/>
                </a:lnTo>
                <a:lnTo>
                  <a:pt x="4513522" y="834390"/>
                </a:lnTo>
                <a:lnTo>
                  <a:pt x="0" y="834390"/>
                </a:lnTo>
                <a:lnTo>
                  <a:pt x="0" y="0"/>
                </a:lnTo>
                <a:close/>
              </a:path>
            </a:pathLst>
          </a:custGeom>
        </p:spPr>
        <p:style>
          <a:lnRef idx="3">
            <a:schemeClr val="lt1"/>
          </a:lnRef>
          <a:fillRef idx="1">
            <a:schemeClr val="accent2"/>
          </a:fillRef>
          <a:effectRef idx="1">
            <a:schemeClr val="accent2"/>
          </a:effectRef>
          <a:fontRef idx="minor">
            <a:schemeClr val="lt1"/>
          </a:fontRef>
        </p:style>
        <p:txBody>
          <a:bodyPr spcFirstLastPara="0" vert="horz" wrap="square" lIns="144000" tIns="114300" rIns="114300" bIns="114300" numCol="1" spcCol="1270" anchor="ctr" anchorCtr="0">
            <a:noAutofit/>
          </a:bodyPr>
          <a:lstStyle/>
          <a:p>
            <a:pPr defTabSz="2000250">
              <a:lnSpc>
                <a:spcPct val="90000"/>
              </a:lnSpc>
              <a:spcBef>
                <a:spcPct val="0"/>
              </a:spcBef>
              <a:spcAft>
                <a:spcPct val="35000"/>
              </a:spcAft>
            </a:pPr>
            <a:r>
              <a:rPr lang="en-GB" sz="3600" dirty="0" smtClean="0"/>
              <a:t>Acquisitions</a:t>
            </a:r>
            <a:endParaRPr lang="en-US" sz="3600" dirty="0"/>
          </a:p>
        </p:txBody>
      </p:sp>
      <p:sp>
        <p:nvSpPr>
          <p:cNvPr id="12" name="Oval 11"/>
          <p:cNvSpPr/>
          <p:nvPr/>
        </p:nvSpPr>
        <p:spPr>
          <a:xfrm rot="10800000" flipH="1">
            <a:off x="10139172" y="2051738"/>
            <a:ext cx="1042987" cy="1042987"/>
          </a:xfrm>
          <a:prstGeom prst="ellipse">
            <a:avLst/>
          </a:prstGeom>
          <a:solidFill>
            <a:schemeClr val="bg1"/>
          </a:solidFill>
          <a:ln>
            <a:solidFill>
              <a:schemeClr val="accent2"/>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4" name="Oval 13"/>
          <p:cNvSpPr/>
          <p:nvPr/>
        </p:nvSpPr>
        <p:spPr>
          <a:xfrm rot="10800000" flipH="1">
            <a:off x="9835871" y="3303323"/>
            <a:ext cx="1042987" cy="1042987"/>
          </a:xfrm>
          <a:prstGeom prst="ellipse">
            <a:avLst/>
          </a:prstGeom>
          <a:solidFill>
            <a:schemeClr val="bg1"/>
          </a:solidFill>
          <a:ln>
            <a:solidFill>
              <a:schemeClr val="accent2"/>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6" name="Oval 15"/>
          <p:cNvSpPr/>
          <p:nvPr/>
        </p:nvSpPr>
        <p:spPr>
          <a:xfrm rot="10800000" flipH="1">
            <a:off x="10139172" y="4554908"/>
            <a:ext cx="1042987" cy="1042987"/>
          </a:xfrm>
          <a:prstGeom prst="ellipse">
            <a:avLst/>
          </a:prstGeom>
          <a:solidFill>
            <a:schemeClr val="bg1"/>
          </a:solidFill>
          <a:ln>
            <a:solidFill>
              <a:schemeClr val="accent2"/>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0" name="Plus 19"/>
          <p:cNvSpPr/>
          <p:nvPr/>
        </p:nvSpPr>
        <p:spPr>
          <a:xfrm>
            <a:off x="1049625" y="4657782"/>
            <a:ext cx="888642" cy="888642"/>
          </a:xfrm>
          <a:prstGeom prst="mathPlus">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lus 20"/>
          <p:cNvSpPr/>
          <p:nvPr/>
        </p:nvSpPr>
        <p:spPr>
          <a:xfrm>
            <a:off x="1330813" y="3407622"/>
            <a:ext cx="888642" cy="888642"/>
          </a:xfrm>
          <a:prstGeom prst="mathPlus">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Plus 21"/>
          <p:cNvSpPr/>
          <p:nvPr/>
        </p:nvSpPr>
        <p:spPr>
          <a:xfrm>
            <a:off x="1049625" y="2128911"/>
            <a:ext cx="888642" cy="888642"/>
          </a:xfrm>
          <a:prstGeom prst="mathPlus">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Minus 22"/>
          <p:cNvSpPr/>
          <p:nvPr/>
        </p:nvSpPr>
        <p:spPr>
          <a:xfrm>
            <a:off x="10216343" y="2123840"/>
            <a:ext cx="888643" cy="888643"/>
          </a:xfrm>
          <a:prstGeom prst="mathMinus">
            <a:avLst/>
          </a:prstGeom>
          <a:solidFill>
            <a:srgbClr val="4F7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Minus 23"/>
          <p:cNvSpPr/>
          <p:nvPr/>
        </p:nvSpPr>
        <p:spPr>
          <a:xfrm>
            <a:off x="9911454" y="3380495"/>
            <a:ext cx="888643" cy="888643"/>
          </a:xfrm>
          <a:prstGeom prst="mathMinus">
            <a:avLst/>
          </a:prstGeom>
          <a:solidFill>
            <a:srgbClr val="4F7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Minus 24"/>
          <p:cNvSpPr/>
          <p:nvPr/>
        </p:nvSpPr>
        <p:spPr>
          <a:xfrm>
            <a:off x="10216343" y="4657781"/>
            <a:ext cx="888643" cy="888643"/>
          </a:xfrm>
          <a:prstGeom prst="mathMinus">
            <a:avLst/>
          </a:prstGeom>
          <a:solidFill>
            <a:srgbClr val="4F7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8062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graphicEl>
                                              <a:dgm id="{DFDF1EAD-436C-4044-B1C9-0350448E3E58}"/>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graphicEl>
                                              <a:dgm id="{838BC13C-DF4B-49BD-88DD-CAF24441F200}"/>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graphicEl>
                                              <a:dgm id="{51218AF5-DB4E-4C32-B903-06938896C5E5}"/>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graphicEl>
                                              <a:dgm id="{2EFD33AF-CA8B-462B-97C4-CC35A456B3B7}"/>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graphicEl>
                                              <a:dgm id="{ABFD3530-B97A-47BF-8457-A7661A3DD75E}"/>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graphicEl>
                                              <a:dgm id="{1FFCCC44-62DD-4873-A046-6270E776D4F9}"/>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graphicEl>
                                              <a:dgm id="{D570205D-F7F9-4F01-AE04-7AF1FE35B19E}"/>
                                            </p:graphic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P spid="11" grpId="0" animBg="1"/>
      <p:bldP spid="13" grpId="0" animBg="1"/>
      <p:bldP spid="15" grpId="0" animBg="1"/>
      <p:bldP spid="20" grpId="0" animBg="1"/>
      <p:bldP spid="21" grpId="0" animBg="1"/>
      <p:bldP spid="22" grpId="0" animBg="1"/>
      <p:bldP spid="23" grpId="0" animBg="1"/>
      <p:bldP spid="24" grpId="0" animBg="1"/>
      <p:bldP spid="2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p:cNvSpPr txBox="1">
            <a:spLocks/>
          </p:cNvSpPr>
          <p:nvPr/>
        </p:nvSpPr>
        <p:spPr bwMode="gray">
          <a:xfrm>
            <a:off x="891705" y="0"/>
            <a:ext cx="10690696" cy="1114661"/>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ts val="600"/>
              </a:spcBef>
              <a:buNone/>
              <a:defRPr sz="3200" b="1" kern="1200">
                <a:solidFill>
                  <a:schemeClr val="accent1"/>
                </a:solidFill>
                <a:latin typeface="+mj-lt"/>
                <a:ea typeface="+mj-ea"/>
                <a:cs typeface="+mj-cs"/>
              </a:defRPr>
            </a:lvl1pPr>
          </a:lstStyle>
          <a:p>
            <a:r>
              <a:rPr lang="en-US" dirty="0" smtClean="0">
                <a:solidFill>
                  <a:srgbClr val="E31B23"/>
                </a:solidFill>
              </a:rPr>
              <a:t>Who drives the next wave of capacity?</a:t>
            </a:r>
            <a:endParaRPr lang="en-US" dirty="0">
              <a:solidFill>
                <a:srgbClr val="E31B23"/>
              </a:solidFill>
            </a:endParaRPr>
          </a:p>
        </p:txBody>
      </p:sp>
      <p:sp>
        <p:nvSpPr>
          <p:cNvPr id="3" name="Right Arrow 2"/>
          <p:cNvSpPr/>
          <p:nvPr/>
        </p:nvSpPr>
        <p:spPr>
          <a:xfrm>
            <a:off x="1001782" y="4879620"/>
            <a:ext cx="7461041" cy="398976"/>
          </a:xfrm>
          <a:prstGeom prst="rightArrow">
            <a:avLst/>
          </a:prstGeom>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grpSp>
        <p:nvGrpSpPr>
          <p:cNvPr id="12" name="Group 11"/>
          <p:cNvGrpSpPr/>
          <p:nvPr/>
        </p:nvGrpSpPr>
        <p:grpSpPr>
          <a:xfrm>
            <a:off x="986191" y="1974133"/>
            <a:ext cx="1433757" cy="2993815"/>
            <a:chOff x="2725135" y="1161783"/>
            <a:chExt cx="1489442" cy="3172917"/>
          </a:xfrm>
          <a:solidFill>
            <a:schemeClr val="accent2"/>
          </a:solidFill>
        </p:grpSpPr>
        <p:sp>
          <p:nvSpPr>
            <p:cNvPr id="23" name="Rectangle 22"/>
            <p:cNvSpPr/>
            <p:nvPr/>
          </p:nvSpPr>
          <p:spPr>
            <a:xfrm>
              <a:off x="2725135" y="1583092"/>
              <a:ext cx="1489442" cy="920478"/>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tIns="0" rtlCol="0" anchor="t"/>
            <a:lstStyle/>
            <a:p>
              <a:pPr algn="ctr"/>
              <a:r>
                <a:rPr lang="en-GB" sz="1200" dirty="0" smtClean="0">
                  <a:solidFill>
                    <a:srgbClr val="FFFFFF"/>
                  </a:solidFill>
                </a:rPr>
                <a:t>Centurion launches micro/macro longevity fund </a:t>
              </a:r>
              <a:br>
                <a:rPr lang="en-GB" sz="1200" dirty="0" smtClean="0">
                  <a:solidFill>
                    <a:srgbClr val="FFFFFF"/>
                  </a:solidFill>
                </a:rPr>
              </a:br>
              <a:r>
                <a:rPr lang="en-GB" sz="800" dirty="0" smtClean="0">
                  <a:solidFill>
                    <a:srgbClr val="FFFFFF"/>
                  </a:solidFill>
                </a:rPr>
                <a:t>(Hedge Week)</a:t>
              </a:r>
              <a:endParaRPr lang="en-US" sz="800" dirty="0">
                <a:solidFill>
                  <a:srgbClr val="FFFFFF"/>
                </a:solidFill>
              </a:endParaRPr>
            </a:p>
          </p:txBody>
        </p:sp>
        <p:grpSp>
          <p:nvGrpSpPr>
            <p:cNvPr id="8" name="Group 7"/>
            <p:cNvGrpSpPr/>
            <p:nvPr/>
          </p:nvGrpSpPr>
          <p:grpSpPr>
            <a:xfrm>
              <a:off x="3098920" y="1161783"/>
              <a:ext cx="741872" cy="421307"/>
              <a:chOff x="1043796" y="2104845"/>
              <a:chExt cx="741872" cy="421307"/>
            </a:xfrm>
            <a:grpFill/>
          </p:grpSpPr>
          <p:sp>
            <p:nvSpPr>
              <p:cNvPr id="6" name="Oval 5"/>
              <p:cNvSpPr/>
              <p:nvPr/>
            </p:nvSpPr>
            <p:spPr>
              <a:xfrm>
                <a:off x="1216324" y="2104845"/>
                <a:ext cx="396816" cy="421307"/>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600" dirty="0"/>
              </a:p>
            </p:txBody>
          </p:sp>
          <p:sp>
            <p:nvSpPr>
              <p:cNvPr id="7" name="TextBox 6"/>
              <p:cNvSpPr txBox="1"/>
              <p:nvPr/>
            </p:nvSpPr>
            <p:spPr>
              <a:xfrm>
                <a:off x="1043796" y="2176998"/>
                <a:ext cx="741872" cy="276999"/>
              </a:xfrm>
              <a:prstGeom prst="rect">
                <a:avLst/>
              </a:prstGeom>
              <a:noFill/>
            </p:spPr>
            <p:txBody>
              <a:bodyPr wrap="square" rtlCol="0">
                <a:spAutoFit/>
              </a:bodyPr>
              <a:lstStyle/>
              <a:p>
                <a:pPr algn="ctr"/>
                <a:r>
                  <a:rPr lang="en-GB" sz="1100" dirty="0" smtClean="0">
                    <a:solidFill>
                      <a:schemeClr val="bg1"/>
                    </a:solidFill>
                  </a:rPr>
                  <a:t>2009</a:t>
                </a:r>
                <a:endParaRPr lang="en-US" sz="1100" dirty="0">
                  <a:solidFill>
                    <a:schemeClr val="bg1"/>
                  </a:solidFill>
                </a:endParaRPr>
              </a:p>
            </p:txBody>
          </p:sp>
        </p:grpSp>
        <p:cxnSp>
          <p:nvCxnSpPr>
            <p:cNvPr id="5" name="Straight Connector 4"/>
            <p:cNvCxnSpPr>
              <a:endCxn id="23" idx="2"/>
            </p:cNvCxnSpPr>
            <p:nvPr/>
          </p:nvCxnSpPr>
          <p:spPr>
            <a:xfrm flipV="1">
              <a:off x="3469855" y="2503570"/>
              <a:ext cx="1" cy="1831130"/>
            </a:xfrm>
            <a:prstGeom prst="line">
              <a:avLst/>
            </a:prstGeom>
            <a:grpFill/>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2651797" y="1974799"/>
            <a:ext cx="1433757" cy="2993150"/>
            <a:chOff x="2725135" y="1161783"/>
            <a:chExt cx="1489442" cy="3172213"/>
          </a:xfrm>
          <a:solidFill>
            <a:schemeClr val="accent2"/>
          </a:solidFill>
        </p:grpSpPr>
        <p:sp>
          <p:nvSpPr>
            <p:cNvPr id="89" name="Rectangle 88"/>
            <p:cNvSpPr/>
            <p:nvPr/>
          </p:nvSpPr>
          <p:spPr>
            <a:xfrm>
              <a:off x="2725135" y="1583092"/>
              <a:ext cx="1489442" cy="919773"/>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a:r>
                <a:rPr lang="en-GB" sz="1200" dirty="0" err="1" smtClean="0">
                  <a:solidFill>
                    <a:srgbClr val="FFFFFF"/>
                  </a:solidFill>
                </a:rPr>
                <a:t>Traymar</a:t>
              </a:r>
              <a:r>
                <a:rPr lang="en-GB" sz="1200" dirty="0" smtClean="0">
                  <a:solidFill>
                    <a:srgbClr val="FFFFFF"/>
                  </a:solidFill>
                </a:rPr>
                <a:t> Capital plans longevity fund launch</a:t>
              </a:r>
              <a:br>
                <a:rPr lang="en-GB" sz="1200" dirty="0" smtClean="0">
                  <a:solidFill>
                    <a:srgbClr val="FFFFFF"/>
                  </a:solidFill>
                </a:rPr>
              </a:br>
              <a:r>
                <a:rPr lang="en-GB" sz="800" dirty="0" smtClean="0">
                  <a:solidFill>
                    <a:srgbClr val="FFFFFF"/>
                  </a:solidFill>
                </a:rPr>
                <a:t>(Risk.net)</a:t>
              </a:r>
              <a:endParaRPr lang="en-US" sz="800" dirty="0">
                <a:solidFill>
                  <a:srgbClr val="FFFFFF"/>
                </a:solidFill>
              </a:endParaRPr>
            </a:p>
          </p:txBody>
        </p:sp>
        <p:grpSp>
          <p:nvGrpSpPr>
            <p:cNvPr id="90" name="Group 89"/>
            <p:cNvGrpSpPr/>
            <p:nvPr/>
          </p:nvGrpSpPr>
          <p:grpSpPr>
            <a:xfrm>
              <a:off x="3098920" y="1161783"/>
              <a:ext cx="741872" cy="421307"/>
              <a:chOff x="1043796" y="2104845"/>
              <a:chExt cx="741872" cy="421307"/>
            </a:xfrm>
            <a:grpFill/>
          </p:grpSpPr>
          <p:sp>
            <p:nvSpPr>
              <p:cNvPr id="93" name="Oval 92"/>
              <p:cNvSpPr/>
              <p:nvPr/>
            </p:nvSpPr>
            <p:spPr>
              <a:xfrm>
                <a:off x="1216324" y="2104845"/>
                <a:ext cx="396816" cy="421307"/>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600" dirty="0"/>
              </a:p>
            </p:txBody>
          </p:sp>
          <p:sp>
            <p:nvSpPr>
              <p:cNvPr id="94" name="TextBox 93"/>
              <p:cNvSpPr txBox="1"/>
              <p:nvPr/>
            </p:nvSpPr>
            <p:spPr>
              <a:xfrm>
                <a:off x="1043796" y="2176998"/>
                <a:ext cx="741872" cy="276999"/>
              </a:xfrm>
              <a:prstGeom prst="rect">
                <a:avLst/>
              </a:prstGeom>
              <a:noFill/>
            </p:spPr>
            <p:txBody>
              <a:bodyPr wrap="square" rtlCol="0">
                <a:spAutoFit/>
              </a:bodyPr>
              <a:lstStyle/>
              <a:p>
                <a:pPr algn="ctr"/>
                <a:r>
                  <a:rPr lang="en-GB" sz="1100" dirty="0" smtClean="0">
                    <a:solidFill>
                      <a:schemeClr val="bg1"/>
                    </a:solidFill>
                  </a:rPr>
                  <a:t>2010</a:t>
                </a:r>
                <a:endParaRPr lang="en-US" sz="1100" dirty="0">
                  <a:solidFill>
                    <a:schemeClr val="bg1"/>
                  </a:solidFill>
                </a:endParaRPr>
              </a:p>
            </p:txBody>
          </p:sp>
        </p:grpSp>
        <p:cxnSp>
          <p:nvCxnSpPr>
            <p:cNvPr id="91" name="Straight Connector 90"/>
            <p:cNvCxnSpPr>
              <a:endCxn id="89" idx="2"/>
            </p:cNvCxnSpPr>
            <p:nvPr/>
          </p:nvCxnSpPr>
          <p:spPr>
            <a:xfrm flipV="1">
              <a:off x="3469857" y="2502865"/>
              <a:ext cx="0" cy="1831131"/>
            </a:xfrm>
            <a:prstGeom prst="line">
              <a:avLst/>
            </a:prstGeom>
            <a:grpFill/>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4263229" y="1974799"/>
            <a:ext cx="1433757" cy="2993149"/>
            <a:chOff x="2725135" y="1161783"/>
            <a:chExt cx="1489442" cy="3172211"/>
          </a:xfrm>
          <a:solidFill>
            <a:schemeClr val="accent2"/>
          </a:solidFill>
        </p:grpSpPr>
        <p:sp>
          <p:nvSpPr>
            <p:cNvPr id="97" name="Rectangle 96"/>
            <p:cNvSpPr/>
            <p:nvPr/>
          </p:nvSpPr>
          <p:spPr>
            <a:xfrm>
              <a:off x="2725135" y="1583092"/>
              <a:ext cx="1489442" cy="91977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200" dirty="0" smtClean="0">
                  <a:solidFill>
                    <a:srgbClr val="FFFFFF"/>
                  </a:solidFill>
                </a:rPr>
                <a:t>JP Morgan strikes important deal for longevity trading </a:t>
              </a:r>
              <a:r>
                <a:rPr lang="en-GB" sz="800" dirty="0" smtClean="0">
                  <a:solidFill>
                    <a:srgbClr val="FFFFFF"/>
                  </a:solidFill>
                </a:rPr>
                <a:t>(Financial Times)</a:t>
              </a:r>
              <a:endParaRPr lang="en-US" sz="800" dirty="0">
                <a:solidFill>
                  <a:srgbClr val="FFFFFF"/>
                </a:solidFill>
              </a:endParaRPr>
            </a:p>
          </p:txBody>
        </p:sp>
        <p:grpSp>
          <p:nvGrpSpPr>
            <p:cNvPr id="98" name="Group 97"/>
            <p:cNvGrpSpPr/>
            <p:nvPr/>
          </p:nvGrpSpPr>
          <p:grpSpPr>
            <a:xfrm>
              <a:off x="3098920" y="1161783"/>
              <a:ext cx="741872" cy="421307"/>
              <a:chOff x="1043796" y="2104845"/>
              <a:chExt cx="741872" cy="421307"/>
            </a:xfrm>
            <a:grpFill/>
          </p:grpSpPr>
          <p:sp>
            <p:nvSpPr>
              <p:cNvPr id="103" name="Oval 102"/>
              <p:cNvSpPr/>
              <p:nvPr/>
            </p:nvSpPr>
            <p:spPr>
              <a:xfrm>
                <a:off x="1216324" y="2104845"/>
                <a:ext cx="396816" cy="421307"/>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600" dirty="0"/>
              </a:p>
            </p:txBody>
          </p:sp>
          <p:sp>
            <p:nvSpPr>
              <p:cNvPr id="105" name="TextBox 104"/>
              <p:cNvSpPr txBox="1"/>
              <p:nvPr/>
            </p:nvSpPr>
            <p:spPr>
              <a:xfrm>
                <a:off x="1043796" y="2176998"/>
                <a:ext cx="741872" cy="276999"/>
              </a:xfrm>
              <a:prstGeom prst="rect">
                <a:avLst/>
              </a:prstGeom>
              <a:noFill/>
            </p:spPr>
            <p:txBody>
              <a:bodyPr wrap="square" rtlCol="0">
                <a:spAutoFit/>
              </a:bodyPr>
              <a:lstStyle/>
              <a:p>
                <a:pPr algn="ctr"/>
                <a:r>
                  <a:rPr lang="en-GB" sz="1100" dirty="0" smtClean="0">
                    <a:solidFill>
                      <a:schemeClr val="bg1"/>
                    </a:solidFill>
                  </a:rPr>
                  <a:t>2011</a:t>
                </a:r>
                <a:endParaRPr lang="en-US" sz="1100" dirty="0">
                  <a:solidFill>
                    <a:schemeClr val="bg1"/>
                  </a:solidFill>
                </a:endParaRPr>
              </a:p>
            </p:txBody>
          </p:sp>
        </p:grpSp>
        <p:cxnSp>
          <p:nvCxnSpPr>
            <p:cNvPr id="100" name="Straight Connector 99"/>
            <p:cNvCxnSpPr>
              <a:endCxn id="97" idx="2"/>
            </p:cNvCxnSpPr>
            <p:nvPr/>
          </p:nvCxnSpPr>
          <p:spPr>
            <a:xfrm flipV="1">
              <a:off x="3469855" y="2502864"/>
              <a:ext cx="1" cy="1831130"/>
            </a:xfrm>
            <a:prstGeom prst="line">
              <a:avLst/>
            </a:prstGeom>
            <a:grpFill/>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891619" y="1988657"/>
            <a:ext cx="1433757" cy="2993149"/>
            <a:chOff x="2725135" y="1161783"/>
            <a:chExt cx="1489442" cy="3172211"/>
          </a:xfrm>
          <a:solidFill>
            <a:schemeClr val="accent2"/>
          </a:solidFill>
        </p:grpSpPr>
        <p:sp>
          <p:nvSpPr>
            <p:cNvPr id="107" name="Rectangle 106"/>
            <p:cNvSpPr/>
            <p:nvPr/>
          </p:nvSpPr>
          <p:spPr>
            <a:xfrm>
              <a:off x="2725135" y="1583092"/>
              <a:ext cx="1489442" cy="905085"/>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a:r>
                <a:rPr lang="en-GB" sz="1200" dirty="0" smtClean="0">
                  <a:solidFill>
                    <a:srgbClr val="FFFFFF"/>
                  </a:solidFill>
                </a:rPr>
                <a:t>LLMA introduces longevity indices</a:t>
              </a:r>
            </a:p>
            <a:p>
              <a:pPr algn="ctr"/>
              <a:r>
                <a:rPr lang="en-GB" sz="800" dirty="0" smtClean="0">
                  <a:solidFill>
                    <a:srgbClr val="FFFFFF"/>
                  </a:solidFill>
                </a:rPr>
                <a:t>(Actuarial Post)</a:t>
              </a:r>
              <a:endParaRPr lang="en-US" sz="800" dirty="0">
                <a:solidFill>
                  <a:srgbClr val="FFFFFF"/>
                </a:solidFill>
              </a:endParaRPr>
            </a:p>
          </p:txBody>
        </p:sp>
        <p:grpSp>
          <p:nvGrpSpPr>
            <p:cNvPr id="108" name="Group 107"/>
            <p:cNvGrpSpPr/>
            <p:nvPr/>
          </p:nvGrpSpPr>
          <p:grpSpPr>
            <a:xfrm>
              <a:off x="3098920" y="1161783"/>
              <a:ext cx="741872" cy="421307"/>
              <a:chOff x="1043796" y="2104845"/>
              <a:chExt cx="741872" cy="421307"/>
            </a:xfrm>
            <a:grpFill/>
          </p:grpSpPr>
          <p:sp>
            <p:nvSpPr>
              <p:cNvPr id="110" name="Oval 109"/>
              <p:cNvSpPr/>
              <p:nvPr/>
            </p:nvSpPr>
            <p:spPr>
              <a:xfrm>
                <a:off x="1216324" y="2104845"/>
                <a:ext cx="396816" cy="421307"/>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600" dirty="0"/>
              </a:p>
            </p:txBody>
          </p:sp>
          <p:sp>
            <p:nvSpPr>
              <p:cNvPr id="111" name="TextBox 110"/>
              <p:cNvSpPr txBox="1"/>
              <p:nvPr/>
            </p:nvSpPr>
            <p:spPr>
              <a:xfrm>
                <a:off x="1043796" y="2176998"/>
                <a:ext cx="741872" cy="276999"/>
              </a:xfrm>
              <a:prstGeom prst="rect">
                <a:avLst/>
              </a:prstGeom>
              <a:noFill/>
            </p:spPr>
            <p:txBody>
              <a:bodyPr wrap="square" rtlCol="0">
                <a:spAutoFit/>
              </a:bodyPr>
              <a:lstStyle/>
              <a:p>
                <a:pPr algn="ctr"/>
                <a:r>
                  <a:rPr lang="en-GB" sz="1100" dirty="0" smtClean="0">
                    <a:solidFill>
                      <a:schemeClr val="bg1"/>
                    </a:solidFill>
                  </a:rPr>
                  <a:t>2012</a:t>
                </a:r>
                <a:endParaRPr lang="en-US" sz="1100" dirty="0">
                  <a:solidFill>
                    <a:schemeClr val="bg1"/>
                  </a:solidFill>
                </a:endParaRPr>
              </a:p>
            </p:txBody>
          </p:sp>
        </p:grpSp>
        <p:cxnSp>
          <p:nvCxnSpPr>
            <p:cNvPr id="109" name="Straight Connector 108"/>
            <p:cNvCxnSpPr>
              <a:endCxn id="107" idx="2"/>
            </p:cNvCxnSpPr>
            <p:nvPr/>
          </p:nvCxnSpPr>
          <p:spPr>
            <a:xfrm flipV="1">
              <a:off x="3469857" y="2488177"/>
              <a:ext cx="0" cy="1845817"/>
            </a:xfrm>
            <a:prstGeom prst="line">
              <a:avLst/>
            </a:prstGeom>
            <a:grpFill/>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2" name="Group 111"/>
          <p:cNvGrpSpPr/>
          <p:nvPr/>
        </p:nvGrpSpPr>
        <p:grpSpPr>
          <a:xfrm>
            <a:off x="5096448" y="3299973"/>
            <a:ext cx="1433757" cy="1681833"/>
            <a:chOff x="2725135" y="1358832"/>
            <a:chExt cx="1489442" cy="1782447"/>
          </a:xfrm>
          <a:solidFill>
            <a:schemeClr val="accent4"/>
          </a:solidFill>
        </p:grpSpPr>
        <p:sp>
          <p:nvSpPr>
            <p:cNvPr id="113" name="Rectangle 112"/>
            <p:cNvSpPr/>
            <p:nvPr/>
          </p:nvSpPr>
          <p:spPr>
            <a:xfrm>
              <a:off x="2725135" y="1757801"/>
              <a:ext cx="1489442" cy="93867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200" dirty="0" smtClean="0">
                  <a:solidFill>
                    <a:srgbClr val="FFFFFF"/>
                  </a:solidFill>
                </a:rPr>
                <a:t>AEGON secures €12bn capital market longevity solution </a:t>
              </a:r>
              <a:br>
                <a:rPr lang="en-GB" sz="1200" dirty="0" smtClean="0">
                  <a:solidFill>
                    <a:srgbClr val="FFFFFF"/>
                  </a:solidFill>
                </a:rPr>
              </a:br>
              <a:r>
                <a:rPr lang="en-GB" sz="800" dirty="0" smtClean="0">
                  <a:solidFill>
                    <a:srgbClr val="FFFFFF"/>
                  </a:solidFill>
                </a:rPr>
                <a:t>(Insurance Daily)</a:t>
              </a:r>
              <a:endParaRPr lang="en-US" sz="800" dirty="0">
                <a:solidFill>
                  <a:srgbClr val="FFFFFF"/>
                </a:solidFill>
              </a:endParaRPr>
            </a:p>
          </p:txBody>
        </p:sp>
        <p:grpSp>
          <p:nvGrpSpPr>
            <p:cNvPr id="114" name="Group 113"/>
            <p:cNvGrpSpPr/>
            <p:nvPr/>
          </p:nvGrpSpPr>
          <p:grpSpPr>
            <a:xfrm>
              <a:off x="3098920" y="1358832"/>
              <a:ext cx="741872" cy="421307"/>
              <a:chOff x="1043796" y="2301894"/>
              <a:chExt cx="741872" cy="421307"/>
            </a:xfrm>
            <a:grpFill/>
          </p:grpSpPr>
          <p:sp>
            <p:nvSpPr>
              <p:cNvPr id="116" name="Oval 115"/>
              <p:cNvSpPr/>
              <p:nvPr/>
            </p:nvSpPr>
            <p:spPr>
              <a:xfrm>
                <a:off x="1216325" y="2301894"/>
                <a:ext cx="396816" cy="421307"/>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600" dirty="0"/>
              </a:p>
            </p:txBody>
          </p:sp>
          <p:sp>
            <p:nvSpPr>
              <p:cNvPr id="117" name="TextBox 116"/>
              <p:cNvSpPr txBox="1"/>
              <p:nvPr/>
            </p:nvSpPr>
            <p:spPr>
              <a:xfrm>
                <a:off x="1043796" y="2374047"/>
                <a:ext cx="741872" cy="276999"/>
              </a:xfrm>
              <a:prstGeom prst="rect">
                <a:avLst/>
              </a:prstGeom>
              <a:noFill/>
            </p:spPr>
            <p:txBody>
              <a:bodyPr wrap="square" rtlCol="0">
                <a:spAutoFit/>
              </a:bodyPr>
              <a:lstStyle/>
              <a:p>
                <a:pPr algn="ctr"/>
                <a:r>
                  <a:rPr lang="en-GB" sz="1100" dirty="0" smtClean="0">
                    <a:solidFill>
                      <a:schemeClr val="bg1"/>
                    </a:solidFill>
                  </a:rPr>
                  <a:t>2012</a:t>
                </a:r>
                <a:endParaRPr lang="en-US" sz="1100" dirty="0">
                  <a:solidFill>
                    <a:schemeClr val="bg1"/>
                  </a:solidFill>
                </a:endParaRPr>
              </a:p>
            </p:txBody>
          </p:sp>
        </p:grpSp>
        <p:cxnSp>
          <p:nvCxnSpPr>
            <p:cNvPr id="115" name="Straight Connector 114"/>
            <p:cNvCxnSpPr>
              <a:endCxn id="113" idx="2"/>
            </p:cNvCxnSpPr>
            <p:nvPr/>
          </p:nvCxnSpPr>
          <p:spPr>
            <a:xfrm flipV="1">
              <a:off x="3469855" y="2696475"/>
              <a:ext cx="1" cy="444804"/>
            </a:xfrm>
            <a:prstGeom prst="line">
              <a:avLst/>
            </a:prstGeom>
            <a:grpFill/>
            <a:ln w="254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6" name="Group 125"/>
          <p:cNvGrpSpPr/>
          <p:nvPr/>
        </p:nvGrpSpPr>
        <p:grpSpPr>
          <a:xfrm>
            <a:off x="1812956" y="3570917"/>
            <a:ext cx="1433757" cy="1397033"/>
            <a:chOff x="2725135" y="1161783"/>
            <a:chExt cx="1489442" cy="1480609"/>
          </a:xfrm>
          <a:solidFill>
            <a:schemeClr val="tx2"/>
          </a:solidFill>
        </p:grpSpPr>
        <p:sp>
          <p:nvSpPr>
            <p:cNvPr id="127" name="Rectangle 126"/>
            <p:cNvSpPr/>
            <p:nvPr/>
          </p:nvSpPr>
          <p:spPr>
            <a:xfrm>
              <a:off x="2725135" y="1583092"/>
              <a:ext cx="1489442" cy="955442"/>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200" dirty="0" smtClean="0">
                  <a:solidFill>
                    <a:srgbClr val="FFFFFF"/>
                  </a:solidFill>
                </a:rPr>
                <a:t>Swiss Re launches longevity risk bond</a:t>
              </a:r>
            </a:p>
            <a:p>
              <a:pPr algn="ctr"/>
              <a:r>
                <a:rPr lang="en-GB" sz="800" dirty="0" smtClean="0">
                  <a:solidFill>
                    <a:srgbClr val="FFFFFF"/>
                  </a:solidFill>
                </a:rPr>
                <a:t>(Reuters)</a:t>
              </a:r>
              <a:endParaRPr lang="en-US" sz="800" dirty="0">
                <a:solidFill>
                  <a:srgbClr val="FFFFFF"/>
                </a:solidFill>
              </a:endParaRPr>
            </a:p>
          </p:txBody>
        </p:sp>
        <p:grpSp>
          <p:nvGrpSpPr>
            <p:cNvPr id="131" name="Group 130"/>
            <p:cNvGrpSpPr/>
            <p:nvPr/>
          </p:nvGrpSpPr>
          <p:grpSpPr>
            <a:xfrm>
              <a:off x="3098920" y="1161783"/>
              <a:ext cx="741872" cy="421307"/>
              <a:chOff x="1043796" y="2104845"/>
              <a:chExt cx="741872" cy="421307"/>
            </a:xfrm>
            <a:grpFill/>
          </p:grpSpPr>
          <p:sp>
            <p:nvSpPr>
              <p:cNvPr id="135" name="Oval 134"/>
              <p:cNvSpPr/>
              <p:nvPr/>
            </p:nvSpPr>
            <p:spPr>
              <a:xfrm>
                <a:off x="1216324" y="2104845"/>
                <a:ext cx="396816" cy="421307"/>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600" dirty="0"/>
              </a:p>
            </p:txBody>
          </p:sp>
          <p:sp>
            <p:nvSpPr>
              <p:cNvPr id="141" name="TextBox 140"/>
              <p:cNvSpPr txBox="1"/>
              <p:nvPr/>
            </p:nvSpPr>
            <p:spPr>
              <a:xfrm>
                <a:off x="1043796" y="2176998"/>
                <a:ext cx="741872" cy="276999"/>
              </a:xfrm>
              <a:prstGeom prst="rect">
                <a:avLst/>
              </a:prstGeom>
              <a:noFill/>
            </p:spPr>
            <p:txBody>
              <a:bodyPr wrap="square" rtlCol="0">
                <a:spAutoFit/>
              </a:bodyPr>
              <a:lstStyle/>
              <a:p>
                <a:pPr algn="ctr"/>
                <a:r>
                  <a:rPr lang="en-GB" sz="1100" dirty="0" smtClean="0">
                    <a:solidFill>
                      <a:schemeClr val="bg1"/>
                    </a:solidFill>
                  </a:rPr>
                  <a:t>2010</a:t>
                </a:r>
                <a:endParaRPr lang="en-US" sz="1100" dirty="0">
                  <a:solidFill>
                    <a:schemeClr val="bg1"/>
                  </a:solidFill>
                </a:endParaRPr>
              </a:p>
            </p:txBody>
          </p:sp>
        </p:grpSp>
        <p:cxnSp>
          <p:nvCxnSpPr>
            <p:cNvPr id="133" name="Straight Connector 132"/>
            <p:cNvCxnSpPr>
              <a:endCxn id="127" idx="2"/>
            </p:cNvCxnSpPr>
            <p:nvPr/>
          </p:nvCxnSpPr>
          <p:spPr>
            <a:xfrm flipV="1">
              <a:off x="3469857" y="2538533"/>
              <a:ext cx="0" cy="103859"/>
            </a:xfrm>
            <a:prstGeom prst="line">
              <a:avLst/>
            </a:prstGeom>
            <a:grpFill/>
            <a:ln w="254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42" name="Text Placeholder 7"/>
          <p:cNvSpPr txBox="1">
            <a:spLocks/>
          </p:cNvSpPr>
          <p:nvPr/>
        </p:nvSpPr>
        <p:spPr>
          <a:xfrm>
            <a:off x="891705" y="1185767"/>
            <a:ext cx="10690696" cy="383292"/>
          </a:xfrm>
          <a:prstGeom prst="rect">
            <a:avLst/>
          </a:prstGeom>
        </p:spPr>
        <p:txBody>
          <a:bodyPr/>
          <a:lstStyle>
            <a:lvl1pPr marL="292608" indent="-292608" algn="l" defTabSz="914400" rtl="0" eaLnBrk="1" latinLnBrk="0" hangingPunct="1">
              <a:lnSpc>
                <a:spcPct val="90000"/>
              </a:lnSpc>
              <a:spcBef>
                <a:spcPts val="2000"/>
              </a:spcBef>
              <a:buClr>
                <a:schemeClr val="accent1"/>
              </a:buClr>
              <a:buSzPct val="100000"/>
              <a:buFont typeface="Wingdings" panose="05000000000000000000" pitchFamily="2" charset="2"/>
              <a:buChar char="§"/>
              <a:defRPr sz="24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chemeClr val="accent1"/>
              </a:buClr>
              <a:buSzPct val="110000"/>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chemeClr val="accent1"/>
              </a:buClr>
              <a:buFont typeface="Courier New" panose="02070309020205020404" pitchFamily="49" charset="0"/>
              <a:buChar char="o"/>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chemeClr val="accent1"/>
              </a:buClr>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b="1" dirty="0" smtClean="0">
                <a:latin typeface="+mj-lt"/>
                <a:cs typeface="Arial" charset="0"/>
              </a:rPr>
              <a:t>A number of attempts have been made to create a market</a:t>
            </a:r>
            <a:endParaRPr lang="en-US" sz="2000" b="1" dirty="0">
              <a:latin typeface="+mj-lt"/>
              <a:cs typeface="Arial" charset="0"/>
            </a:endParaRPr>
          </a:p>
        </p:txBody>
      </p:sp>
      <p:sp>
        <p:nvSpPr>
          <p:cNvPr id="24" name="Rectangle 23"/>
          <p:cNvSpPr/>
          <p:nvPr/>
        </p:nvSpPr>
        <p:spPr>
          <a:xfrm>
            <a:off x="1793159" y="5481317"/>
            <a:ext cx="976309" cy="329444"/>
          </a:xfrm>
          <a:prstGeom prst="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GB" sz="1400" dirty="0" smtClean="0"/>
              <a:t>Investors</a:t>
            </a:r>
            <a:endParaRPr lang="en-US" sz="1400" dirty="0"/>
          </a:p>
        </p:txBody>
      </p:sp>
      <p:sp>
        <p:nvSpPr>
          <p:cNvPr id="25" name="TextBox 24"/>
          <p:cNvSpPr txBox="1"/>
          <p:nvPr/>
        </p:nvSpPr>
        <p:spPr>
          <a:xfrm>
            <a:off x="986191" y="5204318"/>
            <a:ext cx="976309" cy="276999"/>
          </a:xfrm>
          <a:prstGeom prst="rect">
            <a:avLst/>
          </a:prstGeom>
          <a:noFill/>
        </p:spPr>
        <p:txBody>
          <a:bodyPr wrap="square" rtlCol="0">
            <a:spAutoFit/>
          </a:bodyPr>
          <a:lstStyle/>
          <a:p>
            <a:r>
              <a:rPr lang="en-GB" sz="1200" i="1" dirty="0" smtClean="0"/>
              <a:t>Driven by:</a:t>
            </a:r>
            <a:endParaRPr lang="en-US" sz="1200" i="1" dirty="0"/>
          </a:p>
        </p:txBody>
      </p:sp>
      <p:sp>
        <p:nvSpPr>
          <p:cNvPr id="143" name="Rectangle 142"/>
          <p:cNvSpPr/>
          <p:nvPr/>
        </p:nvSpPr>
        <p:spPr>
          <a:xfrm>
            <a:off x="2950579" y="5481317"/>
            <a:ext cx="976309" cy="329444"/>
          </a:xfrm>
          <a:prstGeom prst="rect">
            <a:avLst/>
          </a:prstGeom>
          <a:ln/>
        </p:spPr>
        <p:style>
          <a:lnRef idx="3">
            <a:schemeClr val="lt1"/>
          </a:lnRef>
          <a:fillRef idx="1">
            <a:schemeClr val="accent6"/>
          </a:fillRef>
          <a:effectRef idx="1">
            <a:schemeClr val="accent6"/>
          </a:effectRef>
          <a:fontRef idx="minor">
            <a:schemeClr val="lt1"/>
          </a:fontRef>
        </p:style>
        <p:txBody>
          <a:bodyPr rtlCol="0" anchor="ctr"/>
          <a:lstStyle/>
          <a:p>
            <a:pPr algn="ctr"/>
            <a:r>
              <a:rPr lang="en-GB" sz="1400" dirty="0" smtClean="0"/>
              <a:t>Insurer</a:t>
            </a:r>
            <a:endParaRPr lang="en-US" sz="1400" dirty="0"/>
          </a:p>
        </p:txBody>
      </p:sp>
      <p:sp>
        <p:nvSpPr>
          <p:cNvPr id="145" name="Rectangle 144"/>
          <p:cNvSpPr/>
          <p:nvPr/>
        </p:nvSpPr>
        <p:spPr>
          <a:xfrm>
            <a:off x="4081317" y="5481317"/>
            <a:ext cx="976309" cy="329444"/>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r>
              <a:rPr lang="en-GB" sz="1400" dirty="0" smtClean="0"/>
              <a:t>Reinsurer</a:t>
            </a:r>
            <a:endParaRPr lang="en-US" sz="1400" dirty="0"/>
          </a:p>
        </p:txBody>
      </p:sp>
      <p:grpSp>
        <p:nvGrpSpPr>
          <p:cNvPr id="68" name="Group 67"/>
          <p:cNvGrpSpPr/>
          <p:nvPr/>
        </p:nvGrpSpPr>
        <p:grpSpPr>
          <a:xfrm>
            <a:off x="6766584" y="3299973"/>
            <a:ext cx="1433757" cy="1681833"/>
            <a:chOff x="2725135" y="1358832"/>
            <a:chExt cx="1489442" cy="1782447"/>
          </a:xfrm>
          <a:solidFill>
            <a:schemeClr val="accent4"/>
          </a:solidFill>
        </p:grpSpPr>
        <p:sp>
          <p:nvSpPr>
            <p:cNvPr id="69" name="Rectangle 68"/>
            <p:cNvSpPr/>
            <p:nvPr/>
          </p:nvSpPr>
          <p:spPr>
            <a:xfrm>
              <a:off x="2725135" y="1757801"/>
              <a:ext cx="1489442" cy="93867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r>
                <a:rPr lang="en-GB" sz="1200" dirty="0" smtClean="0">
                  <a:solidFill>
                    <a:srgbClr val="FFFFFF"/>
                  </a:solidFill>
                </a:rPr>
                <a:t>AEGON </a:t>
              </a:r>
              <a:r>
                <a:rPr lang="en-GB" sz="1200" dirty="0">
                  <a:solidFill>
                    <a:srgbClr val="FFFFFF"/>
                  </a:solidFill>
                </a:rPr>
                <a:t>in €4bn risk transfer to capital </a:t>
              </a:r>
              <a:r>
                <a:rPr lang="en-GB" sz="1200" dirty="0" smtClean="0">
                  <a:solidFill>
                    <a:srgbClr val="FFFFFF"/>
                  </a:solidFill>
                </a:rPr>
                <a:t>markets</a:t>
              </a:r>
              <a:endParaRPr lang="en-GB" sz="1200" dirty="0">
                <a:solidFill>
                  <a:srgbClr val="FFFFFF"/>
                </a:solidFill>
              </a:endParaRPr>
            </a:p>
            <a:p>
              <a:pPr algn="ctr"/>
              <a:r>
                <a:rPr lang="en-GB" sz="800" dirty="0">
                  <a:solidFill>
                    <a:srgbClr val="FFFFFF"/>
                  </a:solidFill>
                </a:rPr>
                <a:t>(www.artemis.bm)</a:t>
              </a:r>
              <a:endParaRPr lang="en-US" sz="800" dirty="0">
                <a:solidFill>
                  <a:srgbClr val="FFFFFF"/>
                </a:solidFill>
              </a:endParaRPr>
            </a:p>
          </p:txBody>
        </p:sp>
        <p:grpSp>
          <p:nvGrpSpPr>
            <p:cNvPr id="70" name="Group 69"/>
            <p:cNvGrpSpPr/>
            <p:nvPr/>
          </p:nvGrpSpPr>
          <p:grpSpPr>
            <a:xfrm>
              <a:off x="3098920" y="1358832"/>
              <a:ext cx="741872" cy="421307"/>
              <a:chOff x="1043796" y="2301894"/>
              <a:chExt cx="741872" cy="421307"/>
            </a:xfrm>
            <a:grpFill/>
          </p:grpSpPr>
          <p:sp>
            <p:nvSpPr>
              <p:cNvPr id="72" name="Oval 71"/>
              <p:cNvSpPr/>
              <p:nvPr/>
            </p:nvSpPr>
            <p:spPr>
              <a:xfrm>
                <a:off x="1216325" y="2301894"/>
                <a:ext cx="396816" cy="421307"/>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600" dirty="0"/>
              </a:p>
            </p:txBody>
          </p:sp>
          <p:sp>
            <p:nvSpPr>
              <p:cNvPr id="73" name="TextBox 72"/>
              <p:cNvSpPr txBox="1"/>
              <p:nvPr/>
            </p:nvSpPr>
            <p:spPr>
              <a:xfrm>
                <a:off x="1043796" y="2374047"/>
                <a:ext cx="741872" cy="276999"/>
              </a:xfrm>
              <a:prstGeom prst="rect">
                <a:avLst/>
              </a:prstGeom>
              <a:noFill/>
            </p:spPr>
            <p:txBody>
              <a:bodyPr wrap="square" rtlCol="0">
                <a:spAutoFit/>
              </a:bodyPr>
              <a:lstStyle/>
              <a:p>
                <a:pPr algn="ctr"/>
                <a:r>
                  <a:rPr lang="en-GB" sz="1100" dirty="0" smtClean="0">
                    <a:solidFill>
                      <a:schemeClr val="bg1"/>
                    </a:solidFill>
                  </a:rPr>
                  <a:t>2013</a:t>
                </a:r>
                <a:endParaRPr lang="en-US" sz="1100" dirty="0">
                  <a:solidFill>
                    <a:schemeClr val="bg1"/>
                  </a:solidFill>
                </a:endParaRPr>
              </a:p>
            </p:txBody>
          </p:sp>
        </p:grpSp>
        <p:cxnSp>
          <p:nvCxnSpPr>
            <p:cNvPr id="71" name="Straight Connector 70"/>
            <p:cNvCxnSpPr>
              <a:endCxn id="69" idx="2"/>
            </p:cNvCxnSpPr>
            <p:nvPr/>
          </p:nvCxnSpPr>
          <p:spPr>
            <a:xfrm flipV="1">
              <a:off x="3469855" y="2696475"/>
              <a:ext cx="1" cy="444804"/>
            </a:xfrm>
            <a:prstGeom prst="line">
              <a:avLst/>
            </a:prstGeom>
            <a:grpFill/>
            <a:ln w="254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2" name="Group 81"/>
          <p:cNvGrpSpPr/>
          <p:nvPr/>
        </p:nvGrpSpPr>
        <p:grpSpPr>
          <a:xfrm>
            <a:off x="8593955" y="2104416"/>
            <a:ext cx="3116069" cy="3829634"/>
            <a:chOff x="1729905" y="2124489"/>
            <a:chExt cx="2799990" cy="3250638"/>
          </a:xfrm>
        </p:grpSpPr>
        <p:sp>
          <p:nvSpPr>
            <p:cNvPr id="83" name="Rectangle 82"/>
            <p:cNvSpPr/>
            <p:nvPr/>
          </p:nvSpPr>
          <p:spPr bwMode="gray">
            <a:xfrm>
              <a:off x="1729906" y="2583517"/>
              <a:ext cx="2799989" cy="279161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84" name="Text Placeholder 4"/>
            <p:cNvSpPr txBox="1">
              <a:spLocks/>
            </p:cNvSpPr>
            <p:nvPr/>
          </p:nvSpPr>
          <p:spPr bwMode="gray">
            <a:xfrm>
              <a:off x="1729906" y="2124489"/>
              <a:ext cx="2799989" cy="1108522"/>
            </a:xfrm>
            <a:prstGeom prst="bracketPair">
              <a:avLst>
                <a:gd name="adj" fmla="val 0"/>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smtClean="0"/>
                <a:t>The capacity creators and the market makers may come from different sources</a:t>
              </a:r>
              <a:endParaRPr lang="en-US" sz="1800" dirty="0"/>
            </a:p>
          </p:txBody>
        </p:sp>
        <p:sp>
          <p:nvSpPr>
            <p:cNvPr id="85" name="Content Placeholder 9"/>
            <p:cNvSpPr txBox="1">
              <a:spLocks/>
            </p:cNvSpPr>
            <p:nvPr/>
          </p:nvSpPr>
          <p:spPr>
            <a:xfrm>
              <a:off x="1729905" y="2708504"/>
              <a:ext cx="2799989" cy="2083735"/>
            </a:xfrm>
            <a:prstGeom prst="rect">
              <a:avLst/>
            </a:prstGeom>
          </p:spPr>
          <p:txBody>
            <a:bodyPr/>
            <a:lstStyle>
              <a:lvl1pPr marL="292608" indent="-292608" algn="l" defTabSz="914400" rtl="0" eaLnBrk="1" latinLnBrk="0" hangingPunct="1">
                <a:lnSpc>
                  <a:spcPct val="90000"/>
                </a:lnSpc>
                <a:spcBef>
                  <a:spcPts val="2000"/>
                </a:spcBef>
                <a:buClr>
                  <a:schemeClr val="accent1"/>
                </a:buClr>
                <a:buSzPct val="100000"/>
                <a:buFont typeface="Wingdings" panose="05000000000000000000" pitchFamily="2" charset="2"/>
                <a:buChar char="§"/>
                <a:defRPr sz="24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chemeClr val="accent1"/>
                </a:buClr>
                <a:buSzPct val="110000"/>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chemeClr val="accent1"/>
                </a:buClr>
                <a:buFont typeface="Courier New" panose="02070309020205020404" pitchFamily="49" charset="0"/>
                <a:buChar char="o"/>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chemeClr val="accent1"/>
                </a:buClr>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900"/>
                </a:spcBef>
              </a:pPr>
              <a:endParaRPr lang="en-GB" sz="1600" dirty="0" smtClean="0"/>
            </a:p>
            <a:p>
              <a:pPr>
                <a:spcBef>
                  <a:spcPts val="900"/>
                </a:spcBef>
              </a:pPr>
              <a:endParaRPr lang="en-GB" sz="1600" dirty="0" smtClean="0"/>
            </a:p>
            <a:p>
              <a:pPr>
                <a:spcBef>
                  <a:spcPts val="900"/>
                </a:spcBef>
              </a:pPr>
              <a:r>
                <a:rPr lang="en-GB" sz="1600" dirty="0" smtClean="0"/>
                <a:t>Most </a:t>
              </a:r>
              <a:r>
                <a:rPr lang="en-GB" sz="1600" dirty="0"/>
                <a:t>deals/initiatives accessing capital markets have been driven by either investors or insurer</a:t>
              </a:r>
            </a:p>
            <a:p>
              <a:pPr>
                <a:spcBef>
                  <a:spcPts val="900"/>
                </a:spcBef>
              </a:pPr>
              <a:r>
                <a:rPr lang="en-GB" sz="1600" dirty="0" smtClean="0"/>
                <a:t>Volume of vanilla insurer-reinsurer deals dwarfs the capacity so far secured in the capital markets</a:t>
              </a:r>
              <a:endParaRPr lang="en-GB" sz="1600" dirty="0"/>
            </a:p>
          </p:txBody>
        </p:sp>
      </p:grpSp>
    </p:spTree>
    <p:extLst>
      <p:ext uri="{BB962C8B-B14F-4D97-AF65-F5344CB8AC3E}">
        <p14:creationId xmlns:p14="http://schemas.microsoft.com/office/powerpoint/2010/main" val="1197971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2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p:bldP spid="143" grpId="0" animBg="1"/>
      <p:bldP spid="14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SHAPETYPE" val="TitleBackgroundBand"/>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Office Theme">
  <a:themeElements>
    <a:clrScheme name="Custom 4">
      <a:dk1>
        <a:srgbClr val="000000"/>
      </a:dk1>
      <a:lt1>
        <a:srgbClr val="FFFFFF"/>
      </a:lt1>
      <a:dk2>
        <a:srgbClr val="848383"/>
      </a:dk2>
      <a:lt2>
        <a:srgbClr val="CECECE"/>
      </a:lt2>
      <a:accent1>
        <a:srgbClr val="E31B23"/>
      </a:accent1>
      <a:accent2>
        <a:srgbClr val="006086"/>
      </a:accent2>
      <a:accent3>
        <a:srgbClr val="E37735"/>
      </a:accent3>
      <a:accent4>
        <a:srgbClr val="631C15"/>
      </a:accent4>
      <a:accent5>
        <a:srgbClr val="848383"/>
      </a:accent5>
      <a:accent6>
        <a:srgbClr val="9E9844"/>
      </a:accent6>
      <a:hlink>
        <a:srgbClr val="006086"/>
      </a:hlink>
      <a:folHlink>
        <a:srgbClr val="E31B2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RGA_Template_Globe.pptx" id="{DEBCF08F-8338-45F3-B40A-C14B97AE732B}" vid="{35B6245A-2358-4E94-A8AD-4909815B3982}"/>
    </a:ext>
  </a:extLst>
</a:theme>
</file>

<file path=ppt/theme/theme2.xml><?xml version="1.0" encoding="utf-8"?>
<a:theme xmlns:a="http://schemas.openxmlformats.org/drawingml/2006/main" name="RGA_CF_RGT003">
  <a:themeElements>
    <a:clrScheme name="Current">
      <a:dk1>
        <a:srgbClr val="000000"/>
      </a:dk1>
      <a:lt1>
        <a:srgbClr val="FFFFFF"/>
      </a:lt1>
      <a:dk2>
        <a:srgbClr val="E31B23"/>
      </a:dk2>
      <a:lt2>
        <a:srgbClr val="FFFFFF"/>
      </a:lt2>
      <a:accent1>
        <a:srgbClr val="D8D8D8"/>
      </a:accent1>
      <a:accent2>
        <a:srgbClr val="F09898"/>
      </a:accent2>
      <a:accent3>
        <a:srgbClr val="E85058"/>
      </a:accent3>
      <a:accent4>
        <a:srgbClr val="E31B23"/>
      </a:accent4>
      <a:accent5>
        <a:srgbClr val="9E9844"/>
      </a:accent5>
      <a:accent6>
        <a:srgbClr val="808080"/>
      </a:accent6>
      <a:hlink>
        <a:srgbClr val="E85058"/>
      </a:hlink>
      <a:folHlink>
        <a:srgbClr val="E31B2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E31B23"/>
        </a:dk2>
        <a:lt2>
          <a:srgbClr val="FFFFFF"/>
        </a:lt2>
        <a:accent1>
          <a:srgbClr val="D8D8D8"/>
        </a:accent1>
        <a:accent2>
          <a:srgbClr val="F09898"/>
        </a:accent2>
        <a:accent3>
          <a:srgbClr val="E85058"/>
        </a:accent3>
        <a:accent4>
          <a:srgbClr val="E31B23"/>
        </a:accent4>
        <a:accent5>
          <a:srgbClr val="9E9844"/>
        </a:accent5>
        <a:accent6>
          <a:srgbClr val="808080"/>
        </a:accent6>
        <a:hlink>
          <a:srgbClr val="E85058"/>
        </a:hlink>
        <a:folHlink>
          <a:srgbClr val="E31B2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RGA_CF_RGT003">
  <a:themeElements>
    <a:clrScheme name="Current">
      <a:dk1>
        <a:srgbClr val="000000"/>
      </a:dk1>
      <a:lt1>
        <a:srgbClr val="FFFFFF"/>
      </a:lt1>
      <a:dk2>
        <a:srgbClr val="E31B23"/>
      </a:dk2>
      <a:lt2>
        <a:srgbClr val="FFFFFF"/>
      </a:lt2>
      <a:accent1>
        <a:srgbClr val="D8D8D8"/>
      </a:accent1>
      <a:accent2>
        <a:srgbClr val="F09898"/>
      </a:accent2>
      <a:accent3>
        <a:srgbClr val="E85058"/>
      </a:accent3>
      <a:accent4>
        <a:srgbClr val="E31B23"/>
      </a:accent4>
      <a:accent5>
        <a:srgbClr val="9E9844"/>
      </a:accent5>
      <a:accent6>
        <a:srgbClr val="808080"/>
      </a:accent6>
      <a:hlink>
        <a:srgbClr val="E85058"/>
      </a:hlink>
      <a:folHlink>
        <a:srgbClr val="E31B2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E31B23"/>
        </a:dk2>
        <a:lt2>
          <a:srgbClr val="FFFFFF"/>
        </a:lt2>
        <a:accent1>
          <a:srgbClr val="D8D8D8"/>
        </a:accent1>
        <a:accent2>
          <a:srgbClr val="F09898"/>
        </a:accent2>
        <a:accent3>
          <a:srgbClr val="E85058"/>
        </a:accent3>
        <a:accent4>
          <a:srgbClr val="E31B23"/>
        </a:accent4>
        <a:accent5>
          <a:srgbClr val="9E9844"/>
        </a:accent5>
        <a:accent6>
          <a:srgbClr val="808080"/>
        </a:accent6>
        <a:hlink>
          <a:srgbClr val="E85058"/>
        </a:hlink>
        <a:folHlink>
          <a:srgbClr val="E31B23"/>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RGA Palette">
      <a:dk1>
        <a:srgbClr val="000000"/>
      </a:dk1>
      <a:lt1>
        <a:srgbClr val="FFFFFF"/>
      </a:lt1>
      <a:dk2>
        <a:srgbClr val="848383"/>
      </a:dk2>
      <a:lt2>
        <a:srgbClr val="CECECE"/>
      </a:lt2>
      <a:accent1>
        <a:srgbClr val="D92B2D"/>
      </a:accent1>
      <a:accent2>
        <a:srgbClr val="006086"/>
      </a:accent2>
      <a:accent3>
        <a:srgbClr val="E37735"/>
      </a:accent3>
      <a:accent4>
        <a:srgbClr val="631C15"/>
      </a:accent4>
      <a:accent5>
        <a:srgbClr val="848383"/>
      </a:accent5>
      <a:accent6>
        <a:srgbClr val="9E9844"/>
      </a:accent6>
      <a:hlink>
        <a:srgbClr val="006086"/>
      </a:hlink>
      <a:folHlink>
        <a:srgbClr val="E31B23"/>
      </a:folHlink>
    </a:clrScheme>
    <a:fontScheme name="Custom 1">
      <a:majorFont>
        <a:latin typeface="Trebuchet MS"/>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F202519AC01F4DB985337A9EEFDEFA" ma:contentTypeVersion="1" ma:contentTypeDescription="Create a new document." ma:contentTypeScope="" ma:versionID="40dd8015e35e7435f24349e5bd1bdda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A571C6A-F11F-4BF6-8EB4-A11998A981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3786520-D866-461B-A592-B81A5A49F712}">
  <ds:schemaRefs>
    <ds:schemaRef ds:uri="http://schemas.microsoft.com/sharepoint/v3/contenttype/forms"/>
  </ds:schemaRefs>
</ds:datastoreItem>
</file>

<file path=customXml/itemProps3.xml><?xml version="1.0" encoding="utf-8"?>
<ds:datastoreItem xmlns:ds="http://schemas.openxmlformats.org/officeDocument/2006/customXml" ds:itemID="{A6BEFDA6-0871-457D-9833-057C9BDF3A5C}">
  <ds:schemaRefs>
    <ds:schemaRef ds:uri="http://purl.org/dc/terms/"/>
    <ds:schemaRef ds:uri="http://schemas.openxmlformats.org/package/2006/metadata/core-properties"/>
    <ds:schemaRef ds:uri="http://www.w3.org/XML/1998/namespace"/>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RGA_Template_Globe</Template>
  <TotalTime>5510</TotalTime>
  <Words>634</Words>
  <Application>Microsoft Office PowerPoint</Application>
  <PresentationFormat>Widescreen</PresentationFormat>
  <Paragraphs>124</Paragraphs>
  <Slides>13</Slides>
  <Notes>1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4" baseType="lpstr">
      <vt:lpstr>Arial</vt:lpstr>
      <vt:lpstr>Arial Narrow</vt:lpstr>
      <vt:lpstr>Calibri</vt:lpstr>
      <vt:lpstr>Courier New</vt:lpstr>
      <vt:lpstr>Trebuchet MS</vt:lpstr>
      <vt:lpstr>Wingdings</vt:lpstr>
      <vt:lpstr>Wingdings 2</vt:lpstr>
      <vt:lpstr>Office Theme</vt:lpstr>
      <vt:lpstr>RGA_CF_RGT003</vt:lpstr>
      <vt:lpstr>1_RGA_CF_RGT003</vt:lpstr>
      <vt:lpstr>think-cell Slide</vt:lpstr>
      <vt:lpstr>Longevity 12  Longevity Risk Transfer: Where Does the Market Turn When All the Cheap Capacity is Gone</vt:lpstr>
      <vt:lpstr>A Balancing Act</vt:lpstr>
      <vt:lpstr>PowerPoint Presentation</vt:lpstr>
      <vt:lpstr>PowerPoint Presentation</vt:lpstr>
      <vt:lpstr>Why is the market localised?</vt:lpstr>
      <vt:lpstr>Where is the capacity needed?</vt:lpstr>
      <vt:lpstr>Tipping point</vt:lpstr>
      <vt:lpstr>Will the market bear the increased cost?</vt:lpstr>
      <vt:lpstr>PowerPoint Presentation</vt:lpstr>
      <vt:lpstr>Barriers to cheap capital markets capacity</vt:lpstr>
      <vt:lpstr>Overcoming barriers</vt:lpstr>
      <vt:lpstr>Bridging the gap</vt:lpstr>
      <vt:lpstr>PowerPoint Presentation</vt:lpstr>
    </vt:vector>
  </TitlesOfParts>
  <Company>RGA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ngevity strawman</dc:title>
  <dc:creator>Hardy, Laura</dc:creator>
  <dc:description>Template Template for v2007 and v2010</dc:description>
  <cp:lastModifiedBy>Marilyn Parris-Bell</cp:lastModifiedBy>
  <cp:revision>182</cp:revision>
  <cp:lastPrinted>2016-09-06T15:05:48Z</cp:lastPrinted>
  <dcterms:created xsi:type="dcterms:W3CDTF">2016-07-13T12:30:27Z</dcterms:created>
  <dcterms:modified xsi:type="dcterms:W3CDTF">2016-09-27T08:5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F202519AC01F4DB985337A9EEFDEFA</vt:lpwstr>
  </property>
</Properties>
</file>